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handoutMasterIdLst>
    <p:handoutMasterId r:id="rId19"/>
  </p:handoutMasterIdLst>
  <p:sldIdLst>
    <p:sldId id="256" r:id="rId5"/>
    <p:sldId id="568" r:id="rId6"/>
    <p:sldId id="2144866542" r:id="rId7"/>
    <p:sldId id="2144866590" r:id="rId8"/>
    <p:sldId id="2144866600" r:id="rId9"/>
    <p:sldId id="2144866596" r:id="rId10"/>
    <p:sldId id="2144866593" r:id="rId11"/>
    <p:sldId id="2144866598" r:id="rId12"/>
    <p:sldId id="2144866599" r:id="rId13"/>
    <p:sldId id="2144866588" r:id="rId14"/>
    <p:sldId id="639" r:id="rId15"/>
    <p:sldId id="271" r:id="rId16"/>
    <p:sldId id="407" r:id="rId17"/>
  </p:sldIdLst>
  <p:sldSz cx="12192000" cy="6858000"/>
  <p:notesSz cx="6858000" cy="9144000"/>
  <p:custDataLst>
    <p:tags r:id="rId2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6" pos="2434" userDrawn="1">
          <p15:clr>
            <a:srgbClr val="A4A3A4"/>
          </p15:clr>
        </p15:guide>
        <p15:guide id="7" orient="horz" pos="231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ttias Meul" initials="MM" lastIdx="18" clrIdx="6">
    <p:extLst>
      <p:ext uri="{19B8F6BF-5375-455C-9EA6-DF929625EA0E}">
        <p15:presenceInfo xmlns:p15="http://schemas.microsoft.com/office/powerpoint/2012/main" userId="S::Mattias.Meul@Ipsos.com::c44b63c8-504e-4cb7-b102-b829b2681110" providerId="AD"/>
      </p:ext>
    </p:extLst>
  </p:cmAuthor>
  <p:cmAuthor id="1" name="Romain Carette" initials="RC" lastIdx="1" clrIdx="0">
    <p:extLst>
      <p:ext uri="{19B8F6BF-5375-455C-9EA6-DF929625EA0E}">
        <p15:presenceInfo xmlns:p15="http://schemas.microsoft.com/office/powerpoint/2012/main" userId="f5b5fcd6593eb51e" providerId="Windows Live"/>
      </p:ext>
    </p:extLst>
  </p:cmAuthor>
  <p:cmAuthor id="2" name="Anne Dehaen" initials="AD" lastIdx="26" clrIdx="1">
    <p:extLst>
      <p:ext uri="{19B8F6BF-5375-455C-9EA6-DF929625EA0E}">
        <p15:presenceInfo xmlns:p15="http://schemas.microsoft.com/office/powerpoint/2012/main" userId="S::Anne.Dehaen@ipsos.com::7b23fd3e-10d0-48a3-8369-f235ce578d25" providerId="AD"/>
      </p:ext>
    </p:extLst>
  </p:cmAuthor>
  <p:cmAuthor id="3" name="Caroline Van Borm" initials="CVB" lastIdx="85" clrIdx="2">
    <p:extLst>
      <p:ext uri="{19B8F6BF-5375-455C-9EA6-DF929625EA0E}">
        <p15:presenceInfo xmlns:p15="http://schemas.microsoft.com/office/powerpoint/2012/main" userId="S::Caroline.VanBorm@ipsos.com::a8e29aa5-9b7d-4045-98dd-08980a78c8ee" providerId="AD"/>
      </p:ext>
    </p:extLst>
  </p:cmAuthor>
  <p:cmAuthor id="4" name="Glenn Hendrickx" initials="GH" lastIdx="10" clrIdx="3">
    <p:extLst>
      <p:ext uri="{19B8F6BF-5375-455C-9EA6-DF929625EA0E}">
        <p15:presenceInfo xmlns:p15="http://schemas.microsoft.com/office/powerpoint/2012/main" userId="S::Glenn.Hendrickx@ipsos.com::599bd1a4-37d0-46aa-a52d-ec77f637209f" providerId="AD"/>
      </p:ext>
    </p:extLst>
  </p:cmAuthor>
  <p:cmAuthor id="5" name="Lisa Maerten" initials="LM" lastIdx="1" clrIdx="4">
    <p:extLst>
      <p:ext uri="{19B8F6BF-5375-455C-9EA6-DF929625EA0E}">
        <p15:presenceInfo xmlns:p15="http://schemas.microsoft.com/office/powerpoint/2012/main" userId="S::Lisa.Maerten@ipsos.com::d534fc49-f51a-4d4a-bd81-349b1c06ebd3" providerId="AD"/>
      </p:ext>
    </p:extLst>
  </p:cmAuthor>
  <p:cmAuthor id="6" name="Joke Vranken" initials="JV" lastIdx="16" clrIdx="5">
    <p:extLst>
      <p:ext uri="{19B8F6BF-5375-455C-9EA6-DF929625EA0E}">
        <p15:presenceInfo xmlns:p15="http://schemas.microsoft.com/office/powerpoint/2012/main" userId="S::Joke.Vranken@ipsos.com::80e24b44-14aa-4fec-b6a4-32a8cf0df85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94747"/>
    <a:srgbClr val="F2F2F2"/>
    <a:srgbClr val="66C4C4"/>
    <a:srgbClr val="7FCECD"/>
    <a:srgbClr val="D26464"/>
    <a:srgbClr val="E4C7EC"/>
    <a:srgbClr val="BEDBFF"/>
    <a:srgbClr val="C43A3A"/>
    <a:srgbClr val="AD3D3D"/>
    <a:srgbClr val="CC1E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21CACB-3FE3-453E-B2E2-8ABDBDF6F37C}" v="1" dt="2023-07-02T06:05:22.41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71" autoAdjust="0"/>
    <p:restoredTop sz="80479" autoAdjust="0"/>
  </p:normalViewPr>
  <p:slideViewPr>
    <p:cSldViewPr snapToGrid="0" showGuides="1">
      <p:cViewPr varScale="1">
        <p:scale>
          <a:sx n="162" d="100"/>
          <a:sy n="162" d="100"/>
        </p:scale>
        <p:origin x="264" y="144"/>
      </p:cViewPr>
      <p:guideLst>
        <p:guide pos="2434"/>
        <p:guide orient="horz" pos="2319"/>
      </p:guideLst>
    </p:cSldViewPr>
  </p:slideViewPr>
  <p:notesTextViewPr>
    <p:cViewPr>
      <p:scale>
        <a:sx n="3" d="2"/>
        <a:sy n="3" d="2"/>
      </p:scale>
      <p:origin x="0" y="0"/>
    </p:cViewPr>
  </p:notesTextViewPr>
  <p:sorterViewPr>
    <p:cViewPr varScale="1">
      <p:scale>
        <a:sx n="1" d="1"/>
        <a:sy n="1" d="1"/>
      </p:scale>
      <p:origin x="0" y="-4062"/>
    </p:cViewPr>
  </p:sorterViewPr>
  <p:notesViewPr>
    <p:cSldViewPr snapToGrid="0" showGuides="1">
      <p:cViewPr>
        <p:scale>
          <a:sx n="75" d="100"/>
          <a:sy n="75" d="100"/>
        </p:scale>
        <p:origin x="5928" y="13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ormoen, Even" userId="73b156b2-ba3a-4a1d-993a-57200de5d8f7" providerId="ADAL" clId="{DE21CACB-3FE3-453E-B2E2-8ABDBDF6F37C}"/>
    <pc:docChg chg="undo custSel addSld delSld modSld">
      <pc:chgData name="Stormoen, Even" userId="73b156b2-ba3a-4a1d-993a-57200de5d8f7" providerId="ADAL" clId="{DE21CACB-3FE3-453E-B2E2-8ABDBDF6F37C}" dt="2023-07-18T06:33:02.717" v="202" actId="20577"/>
      <pc:docMkLst>
        <pc:docMk/>
      </pc:docMkLst>
      <pc:sldChg chg="modSp mod">
        <pc:chgData name="Stormoen, Even" userId="73b156b2-ba3a-4a1d-993a-57200de5d8f7" providerId="ADAL" clId="{DE21CACB-3FE3-453E-B2E2-8ABDBDF6F37C}" dt="2023-07-03T05:28:04.485" v="171" actId="20577"/>
        <pc:sldMkLst>
          <pc:docMk/>
          <pc:sldMk cId="3098778653" sldId="2144866590"/>
        </pc:sldMkLst>
        <pc:spChg chg="mod">
          <ac:chgData name="Stormoen, Even" userId="73b156b2-ba3a-4a1d-993a-57200de5d8f7" providerId="ADAL" clId="{DE21CACB-3FE3-453E-B2E2-8ABDBDF6F37C}" dt="2023-07-03T05:27:54.128" v="170" actId="20577"/>
          <ac:spMkLst>
            <pc:docMk/>
            <pc:sldMk cId="3098778653" sldId="2144866590"/>
            <ac:spMk id="5" creationId="{A999A219-7114-4451-ACCA-FC2BE3484064}"/>
          </ac:spMkLst>
        </pc:spChg>
        <pc:spChg chg="mod">
          <ac:chgData name="Stormoen, Even" userId="73b156b2-ba3a-4a1d-993a-57200de5d8f7" providerId="ADAL" clId="{DE21CACB-3FE3-453E-B2E2-8ABDBDF6F37C}" dt="2023-07-03T05:28:04.485" v="171" actId="20577"/>
          <ac:spMkLst>
            <pc:docMk/>
            <pc:sldMk cId="3098778653" sldId="2144866590"/>
            <ac:spMk id="6" creationId="{7AEF4CE6-B238-B03A-DD3D-CBBD71D18E9E}"/>
          </ac:spMkLst>
        </pc:spChg>
        <pc:graphicFrameChg chg="mod">
          <ac:chgData name="Stormoen, Even" userId="73b156b2-ba3a-4a1d-993a-57200de5d8f7" providerId="ADAL" clId="{DE21CACB-3FE3-453E-B2E2-8ABDBDF6F37C}" dt="2023-07-02T06:05:22.411" v="3"/>
          <ac:graphicFrameMkLst>
            <pc:docMk/>
            <pc:sldMk cId="3098778653" sldId="2144866590"/>
            <ac:graphicFrameMk id="11" creationId="{ABF88BE7-D1B9-ED67-988D-2BE0B2FAC779}"/>
          </ac:graphicFrameMkLst>
        </pc:graphicFrameChg>
        <pc:picChg chg="mod">
          <ac:chgData name="Stormoen, Even" userId="73b156b2-ba3a-4a1d-993a-57200de5d8f7" providerId="ADAL" clId="{DE21CACB-3FE3-453E-B2E2-8ABDBDF6F37C}" dt="2023-07-02T06:18:17.702" v="5" actId="1076"/>
          <ac:picMkLst>
            <pc:docMk/>
            <pc:sldMk cId="3098778653" sldId="2144866590"/>
            <ac:picMk id="8" creationId="{BFA13D4E-6F01-3FD4-BC62-B61A08B548ED}"/>
          </ac:picMkLst>
        </pc:picChg>
      </pc:sldChg>
      <pc:sldChg chg="modSp mod">
        <pc:chgData name="Stormoen, Even" userId="73b156b2-ba3a-4a1d-993a-57200de5d8f7" providerId="ADAL" clId="{DE21CACB-3FE3-453E-B2E2-8ABDBDF6F37C}" dt="2023-07-03T05:28:45.987" v="189" actId="20577"/>
        <pc:sldMkLst>
          <pc:docMk/>
          <pc:sldMk cId="457515610" sldId="2144866593"/>
        </pc:sldMkLst>
        <pc:spChg chg="mod">
          <ac:chgData name="Stormoen, Even" userId="73b156b2-ba3a-4a1d-993a-57200de5d8f7" providerId="ADAL" clId="{DE21CACB-3FE3-453E-B2E2-8ABDBDF6F37C}" dt="2023-07-03T05:28:45.987" v="189" actId="20577"/>
          <ac:spMkLst>
            <pc:docMk/>
            <pc:sldMk cId="457515610" sldId="2144866593"/>
            <ac:spMk id="5" creationId="{A999A219-7114-4451-ACCA-FC2BE3484064}"/>
          </ac:spMkLst>
        </pc:spChg>
      </pc:sldChg>
      <pc:sldChg chg="modSp mod">
        <pc:chgData name="Stormoen, Even" userId="73b156b2-ba3a-4a1d-993a-57200de5d8f7" providerId="ADAL" clId="{DE21CACB-3FE3-453E-B2E2-8ABDBDF6F37C}" dt="2023-07-03T05:27:30.472" v="157" actId="20577"/>
        <pc:sldMkLst>
          <pc:docMk/>
          <pc:sldMk cId="3266784572" sldId="2144866596"/>
        </pc:sldMkLst>
        <pc:spChg chg="mod">
          <ac:chgData name="Stormoen, Even" userId="73b156b2-ba3a-4a1d-993a-57200de5d8f7" providerId="ADAL" clId="{DE21CACB-3FE3-453E-B2E2-8ABDBDF6F37C}" dt="2023-07-03T05:27:30.472" v="157" actId="20577"/>
          <ac:spMkLst>
            <pc:docMk/>
            <pc:sldMk cId="3266784572" sldId="2144866596"/>
            <ac:spMk id="5" creationId="{A999A219-7114-4451-ACCA-FC2BE3484064}"/>
          </ac:spMkLst>
        </pc:spChg>
      </pc:sldChg>
      <pc:sldChg chg="modSp mod">
        <pc:chgData name="Stormoen, Even" userId="73b156b2-ba3a-4a1d-993a-57200de5d8f7" providerId="ADAL" clId="{DE21CACB-3FE3-453E-B2E2-8ABDBDF6F37C}" dt="2023-07-18T06:33:02.717" v="202" actId="20577"/>
        <pc:sldMkLst>
          <pc:docMk/>
          <pc:sldMk cId="1106672229" sldId="2144866599"/>
        </pc:sldMkLst>
        <pc:spChg chg="mod">
          <ac:chgData name="Stormoen, Even" userId="73b156b2-ba3a-4a1d-993a-57200de5d8f7" providerId="ADAL" clId="{DE21CACB-3FE3-453E-B2E2-8ABDBDF6F37C}" dt="2023-07-18T06:33:02.717" v="202" actId="20577"/>
          <ac:spMkLst>
            <pc:docMk/>
            <pc:sldMk cId="1106672229" sldId="2144866599"/>
            <ac:spMk id="5" creationId="{A999A219-7114-4451-ACCA-FC2BE3484064}"/>
          </ac:spMkLst>
        </pc:spChg>
      </pc:sldChg>
      <pc:sldChg chg="modSp mod">
        <pc:chgData name="Stormoen, Even" userId="73b156b2-ba3a-4a1d-993a-57200de5d8f7" providerId="ADAL" clId="{DE21CACB-3FE3-453E-B2E2-8ABDBDF6F37C}" dt="2023-07-03T05:25:45.040" v="101" actId="20577"/>
        <pc:sldMkLst>
          <pc:docMk/>
          <pc:sldMk cId="3454052072" sldId="2144866600"/>
        </pc:sldMkLst>
        <pc:spChg chg="mod">
          <ac:chgData name="Stormoen, Even" userId="73b156b2-ba3a-4a1d-993a-57200de5d8f7" providerId="ADAL" clId="{DE21CACB-3FE3-453E-B2E2-8ABDBDF6F37C}" dt="2023-07-03T05:25:45.040" v="101" actId="20577"/>
          <ac:spMkLst>
            <pc:docMk/>
            <pc:sldMk cId="3454052072" sldId="2144866600"/>
            <ac:spMk id="5" creationId="{A999A219-7114-4451-ACCA-FC2BE3484064}"/>
          </ac:spMkLst>
        </pc:spChg>
        <pc:graphicFrameChg chg="modGraphic">
          <ac:chgData name="Stormoen, Even" userId="73b156b2-ba3a-4a1d-993a-57200de5d8f7" providerId="ADAL" clId="{DE21CACB-3FE3-453E-B2E2-8ABDBDF6F37C}" dt="2023-07-03T04:22:06.470" v="6" actId="14734"/>
          <ac:graphicFrameMkLst>
            <pc:docMk/>
            <pc:sldMk cId="3454052072" sldId="2144866600"/>
            <ac:graphicFrameMk id="12" creationId="{B9B0CD25-34CB-AC2B-1D8A-228060C0925A}"/>
          </ac:graphicFrameMkLst>
        </pc:graphicFrameChg>
      </pc:sldChg>
      <pc:sldChg chg="new del">
        <pc:chgData name="Stormoen, Even" userId="73b156b2-ba3a-4a1d-993a-57200de5d8f7" providerId="ADAL" clId="{DE21CACB-3FE3-453E-B2E2-8ABDBDF6F37C}" dt="2023-07-02T05:00:19.555" v="1" actId="680"/>
        <pc:sldMkLst>
          <pc:docMk/>
          <pc:sldMk cId="3695084630" sldId="214486660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8018487676525"/>
          <c:y val="0.10755627456441129"/>
          <c:w val="0.52826466153558094"/>
          <c:h val="0.79239683612451861"/>
        </c:manualLayout>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8E69-4D84-9B01-57251350E4B4}"/>
              </c:ext>
            </c:extLst>
          </c:dPt>
          <c:dPt>
            <c:idx val="1"/>
            <c:bubble3D val="0"/>
            <c:spPr>
              <a:solidFill>
                <a:schemeClr val="bg2"/>
              </a:solidFill>
              <a:ln w="19050">
                <a:solidFill>
                  <a:schemeClr val="lt1"/>
                </a:solidFill>
              </a:ln>
              <a:effectLst/>
            </c:spPr>
            <c:extLst>
              <c:ext xmlns:c16="http://schemas.microsoft.com/office/drawing/2014/chart" uri="{C3380CC4-5D6E-409C-BE32-E72D297353CC}">
                <c16:uniqueId val="{00000003-8E69-4D84-9B01-57251350E4B4}"/>
              </c:ext>
            </c:extLst>
          </c:dPt>
          <c:dPt>
            <c:idx val="2"/>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2-8E69-4D84-9B01-57251350E4B4}"/>
              </c:ext>
            </c:extLst>
          </c:dPt>
          <c:dLbls>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i</c:v>
                </c:pt>
                <c:pt idx="2">
                  <c:v>Vet ikke/Kan ikke svare</c:v>
                </c:pt>
              </c:strCache>
            </c:strRef>
          </c:cat>
          <c:val>
            <c:numRef>
              <c:f>Sheet1!$B$2:$B$4</c:f>
              <c:numCache>
                <c:formatCode>0</c:formatCode>
                <c:ptCount val="3"/>
                <c:pt idx="0">
                  <c:v>65.393835667874299</c:v>
                </c:pt>
                <c:pt idx="1">
                  <c:v>7.9029759285027996</c:v>
                </c:pt>
                <c:pt idx="2">
                  <c:v>26.703188403622899</c:v>
                </c:pt>
              </c:numCache>
            </c:numRef>
          </c:val>
          <c:extLst>
            <c:ext xmlns:c16="http://schemas.microsoft.com/office/drawing/2014/chart" uri="{C3380CC4-5D6E-409C-BE32-E72D297353CC}">
              <c16:uniqueId val="{00000000-8E69-4D84-9B01-57251350E4B4}"/>
            </c:ext>
          </c:extLst>
        </c:ser>
        <c:dLbls>
          <c:showLegendKey val="0"/>
          <c:showVal val="1"/>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b="1">
          <a:solidFill>
            <a:schemeClr val="bg1"/>
          </a:solidFill>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3-6E22-4265-B2C3-B618F31B8776}"/>
              </c:ext>
            </c:extLst>
          </c:dPt>
          <c:dLbls>
            <c:dLbl>
              <c:idx val="3"/>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lumMod val="65000"/>
                        </a:schemeClr>
                      </a:solidFill>
                      <a:latin typeface="+mn-lt"/>
                      <a:ea typeface="+mn-ea"/>
                      <a:cs typeface="+mn-cs"/>
                    </a:defRPr>
                  </a:pPr>
                  <a:endParaRPr lang="nb-NO"/>
                </a:p>
              </c:txPr>
              <c:dLblPos val="outEnd"/>
              <c:showLegendKey val="0"/>
              <c:showVal val="1"/>
              <c:showCatName val="0"/>
              <c:showSerName val="0"/>
              <c:showPercent val="0"/>
              <c:showBubbleSize val="0"/>
              <c:extLst>
                <c:ext xmlns:c16="http://schemas.microsoft.com/office/drawing/2014/chart" uri="{C3380CC4-5D6E-409C-BE32-E72D297353CC}">
                  <c16:uniqueId val="{00000003-6E22-4265-B2C3-B618F31B877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gens Lov om barn og foreldre gir den ene av foreldrene rett til å ta de viktige avgjørelsene om barnas omsorg alene, når foreldrene ikke selv blir enige om å ha delt bosted i betydningen juridisk likeverd. (Med viktige avgjørelser menes spørsmål om hvor </c:v>
                </c:pt>
                <c:pt idx="1">
                  <c:v>Dagens Lov om barn og foreldre likestiller foreldrene juridisk mht. barnas omsorg </c:v>
                </c:pt>
                <c:pt idx="2">
                  <c:v>Lov om barn og foreldre gir full avtalefrihet mellom foreldrene</c:v>
                </c:pt>
                <c:pt idx="3">
                  <c:v>Vet ikke/Kan ikke svare</c:v>
                </c:pt>
              </c:strCache>
            </c:strRef>
          </c:cat>
          <c:val>
            <c:numRef>
              <c:f>Sheet1!$B$2:$B$5</c:f>
              <c:numCache>
                <c:formatCode>0</c:formatCode>
                <c:ptCount val="4"/>
                <c:pt idx="0">
                  <c:v>34.863405241414704</c:v>
                </c:pt>
                <c:pt idx="1">
                  <c:v>28.035957599937898</c:v>
                </c:pt>
                <c:pt idx="2">
                  <c:v>19.016707514297199</c:v>
                </c:pt>
                <c:pt idx="3">
                  <c:v>34.8348880649406</c:v>
                </c:pt>
              </c:numCache>
            </c:numRef>
          </c:val>
          <c:extLst>
            <c:ext xmlns:c16="http://schemas.microsoft.com/office/drawing/2014/chart" uri="{C3380CC4-5D6E-409C-BE32-E72D297353CC}">
              <c16:uniqueId val="{00000000-6E22-4265-B2C3-B618F31B8776}"/>
            </c:ext>
          </c:extLst>
        </c:ser>
        <c:dLbls>
          <c:dLblPos val="outEnd"/>
          <c:showLegendKey val="0"/>
          <c:showVal val="1"/>
          <c:showCatName val="0"/>
          <c:showSerName val="0"/>
          <c:showPercent val="0"/>
          <c:showBubbleSize val="0"/>
        </c:dLbls>
        <c:gapWidth val="108"/>
        <c:overlap val="-41"/>
        <c:axId val="1212638808"/>
        <c:axId val="1212637728"/>
      </c:barChart>
      <c:catAx>
        <c:axId val="1212638808"/>
        <c:scaling>
          <c:orientation val="maxMin"/>
        </c:scaling>
        <c:delete val="1"/>
        <c:axPos val="l"/>
        <c:numFmt formatCode="General" sourceLinked="1"/>
        <c:majorTickMark val="none"/>
        <c:minorTickMark val="none"/>
        <c:tickLblPos val="nextTo"/>
        <c:crossAx val="1212637728"/>
        <c:crosses val="autoZero"/>
        <c:auto val="1"/>
        <c:lblAlgn val="ctr"/>
        <c:lblOffset val="100"/>
        <c:noMultiLvlLbl val="0"/>
      </c:catAx>
      <c:valAx>
        <c:axId val="1212637728"/>
        <c:scaling>
          <c:orientation val="minMax"/>
        </c:scaling>
        <c:delete val="1"/>
        <c:axPos val="t"/>
        <c:numFmt formatCode="0" sourceLinked="1"/>
        <c:majorTickMark val="none"/>
        <c:minorTickMark val="none"/>
        <c:tickLblPos val="nextTo"/>
        <c:crossAx val="1212638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45100519008097E-2"/>
          <c:y val="9.8660242454463407E-2"/>
          <c:w val="0.96061738688974829"/>
          <c:h val="0.59915879680371575"/>
        </c:manualLayout>
      </c:layout>
      <c:barChart>
        <c:barDir val="col"/>
        <c:grouping val="clustered"/>
        <c:varyColors val="0"/>
        <c:ser>
          <c:idx val="0"/>
          <c:order val="0"/>
          <c:tx>
            <c:strRef>
              <c:f>Sheet1!$B$1</c:f>
              <c:strCache>
                <c:ptCount val="1"/>
                <c:pt idx="0">
                  <c:v>Total</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gens Lov om barn og foreldre gir den ene av foreldrene rett til å ta de viktige avgjørelsene om barnas omsorg alene, når foreldrene ikke selv blir enige om å ha delt bosted i betydningen juridisk likeverd. (Med viktige avgjørelser menes spørsmål om hvor </c:v>
                </c:pt>
                <c:pt idx="1">
                  <c:v>Dagens Lov om barn og foreldre likestiller foreldrene juridisk mht. barnas omsorg </c:v>
                </c:pt>
                <c:pt idx="2">
                  <c:v>Lov om barn og foreldre gir full avtalefrihet mellom foreldrene</c:v>
                </c:pt>
                <c:pt idx="3">
                  <c:v>Vet ikke/Kan ikke svare</c:v>
                </c:pt>
              </c:strCache>
            </c:strRef>
          </c:cat>
          <c:val>
            <c:numRef>
              <c:f>Sheet1!$B$2:$B$5</c:f>
              <c:numCache>
                <c:formatCode>0</c:formatCode>
                <c:ptCount val="4"/>
                <c:pt idx="0">
                  <c:v>34.863405241414704</c:v>
                </c:pt>
                <c:pt idx="1">
                  <c:v>28.035957599937898</c:v>
                </c:pt>
                <c:pt idx="2">
                  <c:v>19.016707514297199</c:v>
                </c:pt>
                <c:pt idx="3">
                  <c:v>34.8348880649406</c:v>
                </c:pt>
              </c:numCache>
            </c:numRef>
          </c:val>
          <c:extLst>
            <c:ext xmlns:c16="http://schemas.microsoft.com/office/drawing/2014/chart" uri="{C3380CC4-5D6E-409C-BE32-E72D297353CC}">
              <c16:uniqueId val="{00000000-4208-4D2B-ADCF-7626B9C1EE63}"/>
            </c:ext>
          </c:extLst>
        </c:ser>
        <c:ser>
          <c:idx val="1"/>
          <c:order val="1"/>
          <c:tx>
            <c:strRef>
              <c:f>Sheet1!$C$1</c:f>
              <c:strCache>
                <c:ptCount val="1"/>
                <c:pt idx="0">
                  <c:v>Ja, som part, dvs. som mor eller far til barnet</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gens Lov om barn og foreldre gir den ene av foreldrene rett til å ta de viktige avgjørelsene om barnas omsorg alene, når foreldrene ikke selv blir enige om å ha delt bosted i betydningen juridisk likeverd. (Med viktige avgjørelser menes spørsmål om hvor </c:v>
                </c:pt>
                <c:pt idx="1">
                  <c:v>Dagens Lov om barn og foreldre likestiller foreldrene juridisk mht. barnas omsorg </c:v>
                </c:pt>
                <c:pt idx="2">
                  <c:v>Lov om barn og foreldre gir full avtalefrihet mellom foreldrene</c:v>
                </c:pt>
                <c:pt idx="3">
                  <c:v>Vet ikke/Kan ikke svare</c:v>
                </c:pt>
              </c:strCache>
            </c:strRef>
          </c:cat>
          <c:val>
            <c:numRef>
              <c:f>Sheet1!$C$2:$C$5</c:f>
              <c:numCache>
                <c:formatCode>0</c:formatCode>
                <c:ptCount val="4"/>
                <c:pt idx="0">
                  <c:v>65</c:v>
                </c:pt>
                <c:pt idx="1">
                  <c:v>43</c:v>
                </c:pt>
                <c:pt idx="2">
                  <c:v>30</c:v>
                </c:pt>
                <c:pt idx="3">
                  <c:v>8</c:v>
                </c:pt>
              </c:numCache>
            </c:numRef>
          </c:val>
          <c:extLst>
            <c:ext xmlns:c16="http://schemas.microsoft.com/office/drawing/2014/chart" uri="{C3380CC4-5D6E-409C-BE32-E72D297353CC}">
              <c16:uniqueId val="{00000001-4208-4D2B-ADCF-7626B9C1EE63}"/>
            </c:ext>
          </c:extLst>
        </c:ser>
        <c:ser>
          <c:idx val="2"/>
          <c:order val="2"/>
          <c:tx>
            <c:strRef>
              <c:f>Sheet1!$D$1</c:f>
              <c:strCache>
                <c:ptCount val="1"/>
                <c:pt idx="0">
                  <c:v>Ja, i en annen rolle</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gens Lov om barn og foreldre gir den ene av foreldrene rett til å ta de viktige avgjørelsene om barnas omsorg alene, når foreldrene ikke selv blir enige om å ha delt bosted i betydningen juridisk likeverd. (Med viktige avgjørelser menes spørsmål om hvor </c:v>
                </c:pt>
                <c:pt idx="1">
                  <c:v>Dagens Lov om barn og foreldre likestiller foreldrene juridisk mht. barnas omsorg </c:v>
                </c:pt>
                <c:pt idx="2">
                  <c:v>Lov om barn og foreldre gir full avtalefrihet mellom foreldrene</c:v>
                </c:pt>
                <c:pt idx="3">
                  <c:v>Vet ikke/Kan ikke svare</c:v>
                </c:pt>
              </c:strCache>
            </c:strRef>
          </c:cat>
          <c:val>
            <c:numRef>
              <c:f>Sheet1!$D$2:$D$5</c:f>
              <c:numCache>
                <c:formatCode>0</c:formatCode>
                <c:ptCount val="4"/>
                <c:pt idx="0">
                  <c:v>48</c:v>
                </c:pt>
                <c:pt idx="1">
                  <c:v>47</c:v>
                </c:pt>
                <c:pt idx="2">
                  <c:v>29</c:v>
                </c:pt>
                <c:pt idx="3">
                  <c:v>14</c:v>
                </c:pt>
              </c:numCache>
            </c:numRef>
          </c:val>
          <c:extLst>
            <c:ext xmlns:c16="http://schemas.microsoft.com/office/drawing/2014/chart" uri="{C3380CC4-5D6E-409C-BE32-E72D297353CC}">
              <c16:uniqueId val="{00000002-4208-4D2B-ADCF-7626B9C1EE63}"/>
            </c:ext>
          </c:extLst>
        </c:ser>
        <c:ser>
          <c:idx val="3"/>
          <c:order val="3"/>
          <c:tx>
            <c:strRef>
              <c:f>Sheet1!$E$1</c:f>
              <c:strCache>
                <c:ptCount val="1"/>
                <c:pt idx="0">
                  <c:v>Nei</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agens Lov om barn og foreldre gir den ene av foreldrene rett til å ta de viktige avgjørelsene om barnas omsorg alene, når foreldrene ikke selv blir enige om å ha delt bosted i betydningen juridisk likeverd. (Med viktige avgjørelser menes spørsmål om hvor </c:v>
                </c:pt>
                <c:pt idx="1">
                  <c:v>Dagens Lov om barn og foreldre likestiller foreldrene juridisk mht. barnas omsorg </c:v>
                </c:pt>
                <c:pt idx="2">
                  <c:v>Lov om barn og foreldre gir full avtalefrihet mellom foreldrene</c:v>
                </c:pt>
                <c:pt idx="3">
                  <c:v>Vet ikke/Kan ikke svare</c:v>
                </c:pt>
              </c:strCache>
            </c:strRef>
          </c:cat>
          <c:val>
            <c:numRef>
              <c:f>Sheet1!$E$2:$E$5</c:f>
              <c:numCache>
                <c:formatCode>0</c:formatCode>
                <c:ptCount val="4"/>
                <c:pt idx="0">
                  <c:v>31</c:v>
                </c:pt>
                <c:pt idx="1">
                  <c:v>25</c:v>
                </c:pt>
                <c:pt idx="2">
                  <c:v>17</c:v>
                </c:pt>
                <c:pt idx="3">
                  <c:v>39</c:v>
                </c:pt>
              </c:numCache>
            </c:numRef>
          </c:val>
          <c:extLst>
            <c:ext xmlns:c16="http://schemas.microsoft.com/office/drawing/2014/chart" uri="{C3380CC4-5D6E-409C-BE32-E72D297353CC}">
              <c16:uniqueId val="{00000003-4208-4D2B-ADCF-7626B9C1EE63}"/>
            </c:ext>
          </c:extLst>
        </c:ser>
        <c:dLbls>
          <c:dLblPos val="outEnd"/>
          <c:showLegendKey val="0"/>
          <c:showVal val="1"/>
          <c:showCatName val="0"/>
          <c:showSerName val="0"/>
          <c:showPercent val="0"/>
          <c:showBubbleSize val="0"/>
        </c:dLbls>
        <c:gapWidth val="223"/>
        <c:overlap val="-20"/>
        <c:axId val="813710176"/>
        <c:axId val="813708376"/>
      </c:barChart>
      <c:catAx>
        <c:axId val="813710176"/>
        <c:scaling>
          <c:orientation val="minMax"/>
        </c:scaling>
        <c:delete val="1"/>
        <c:axPos val="b"/>
        <c:numFmt formatCode="General" sourceLinked="1"/>
        <c:majorTickMark val="none"/>
        <c:minorTickMark val="none"/>
        <c:tickLblPos val="nextTo"/>
        <c:crossAx val="813708376"/>
        <c:crosses val="autoZero"/>
        <c:auto val="1"/>
        <c:lblAlgn val="ctr"/>
        <c:lblOffset val="100"/>
        <c:noMultiLvlLbl val="0"/>
      </c:catAx>
      <c:valAx>
        <c:axId val="813708376"/>
        <c:scaling>
          <c:orientation val="minMax"/>
        </c:scaling>
        <c:delete val="1"/>
        <c:axPos val="l"/>
        <c:numFmt formatCode="0" sourceLinked="1"/>
        <c:majorTickMark val="none"/>
        <c:minorTickMark val="none"/>
        <c:tickLblPos val="nextTo"/>
        <c:crossAx val="813710176"/>
        <c:crosses val="autoZero"/>
        <c:crossBetween val="between"/>
      </c:valAx>
      <c:spPr>
        <a:noFill/>
        <a:ln>
          <a:noFill/>
        </a:ln>
        <a:effectLst/>
      </c:spPr>
    </c:plotArea>
    <c:legend>
      <c:legendPos val="b"/>
      <c:layout>
        <c:manualLayout>
          <c:xMode val="edge"/>
          <c:yMode val="edge"/>
          <c:x val="0.23486261146065063"/>
          <c:y val="0.91498445892176894"/>
          <c:w val="0.56639535153803966"/>
          <c:h val="5.2396613624523615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8849417211680143E-2"/>
          <c:w val="0.99987839741737805"/>
          <c:h val="0.83505379105091715"/>
        </c:manualLayout>
      </c:layout>
      <c:barChart>
        <c:barDir val="col"/>
        <c:grouping val="stacked"/>
        <c:varyColors val="0"/>
        <c:ser>
          <c:idx val="0"/>
          <c:order val="0"/>
          <c:tx>
            <c:strRef>
              <c:f>Sheet1!$A$5</c:f>
              <c:strCache>
                <c:ptCount val="1"/>
                <c:pt idx="0">
                  <c:v>Vet ikke/kan ikke svare</c:v>
                </c:pt>
              </c:strCache>
            </c:strRef>
          </c:tx>
          <c:spPr>
            <a:solidFill>
              <a:schemeClr val="bg1">
                <a:lumMod val="75000"/>
              </a:schemeClr>
            </a:solidFill>
            <a:ln>
              <a:noFill/>
            </a:ln>
            <a:effectLst/>
          </c:spPr>
          <c:invertIfNegative val="0"/>
          <c:dLbls>
            <c:numFmt formatCode="0;0;" sourceLinked="0"/>
            <c:spPr>
              <a:noFill/>
              <a:ln>
                <a:noFill/>
              </a:ln>
              <a:effectLst/>
            </c:spPr>
            <c:txPr>
              <a:bodyPr rot="0" vertOverflow="overflow" horzOverflow="overflow" vert="horz" wrap="none" lIns="36000" tIns="0" rIns="36000" bIns="0">
                <a:spAutoFit/>
              </a:bodyPr>
              <a:lstStyle/>
              <a:p>
                <a:pPr>
                  <a:defRPr sz="1400" b="1">
                    <a:solidFill>
                      <a:schemeClr val="bg1"/>
                    </a:solidFill>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B$1:$E$1</c:f>
              <c:strCache>
                <c:ptCount val="4"/>
                <c:pt idx="0">
                  <c:v>(n=1087)
</c:v>
                </c:pt>
                <c:pt idx="1">
                  <c:v>(n=87)
(A)</c:v>
                </c:pt>
                <c:pt idx="2">
                  <c:v>(n=138)
(B)</c:v>
                </c:pt>
                <c:pt idx="3">
                  <c:v>(n=855)
(C)</c:v>
                </c:pt>
              </c:strCache>
            </c:strRef>
          </c:cat>
          <c:val>
            <c:numRef>
              <c:f>Sheet1!$B$5:$E$5</c:f>
              <c:numCache>
                <c:formatCode>0</c:formatCode>
                <c:ptCount val="4"/>
                <c:pt idx="0">
                  <c:v>7</c:v>
                </c:pt>
                <c:pt idx="1">
                  <c:v>0</c:v>
                </c:pt>
                <c:pt idx="2">
                  <c:v>1</c:v>
                </c:pt>
                <c:pt idx="3">
                  <c:v>8</c:v>
                </c:pt>
              </c:numCache>
            </c:numRef>
          </c:val>
          <c:extLst>
            <c:ext xmlns:c16="http://schemas.microsoft.com/office/drawing/2014/chart" uri="{C3380CC4-5D6E-409C-BE32-E72D297353CC}">
              <c16:uniqueId val="{00000000-8618-4D6E-97DA-212163D729AA}"/>
            </c:ext>
          </c:extLst>
        </c:ser>
        <c:ser>
          <c:idx val="1"/>
          <c:order val="1"/>
          <c:tx>
            <c:strRef>
              <c:f>Sheet1!$A$6</c:f>
              <c:strCache>
                <c:ptCount val="1"/>
                <c:pt idx="0">
                  <c:v>Lav tillit</c:v>
                </c:pt>
              </c:strCache>
            </c:strRef>
          </c:tx>
          <c:spPr>
            <a:solidFill>
              <a:schemeClr val="bg2">
                <a:lumMod val="40000"/>
                <a:lumOff val="60000"/>
              </a:schemeClr>
            </a:solidFill>
            <a:ln>
              <a:noFill/>
            </a:ln>
            <a:effectLst/>
          </c:spPr>
          <c:invertIfNegative val="0"/>
          <c:dLbls>
            <c:numFmt formatCode="0;0;" sourceLinked="0"/>
            <c:spPr>
              <a:noFill/>
              <a:ln>
                <a:noFill/>
              </a:ln>
              <a:effectLst/>
            </c:spPr>
            <c:txPr>
              <a:bodyPr rot="0" vertOverflow="overflow" horzOverflow="overflow" vert="horz" wrap="none" lIns="36000" tIns="0" rIns="36000" bIns="0" anchor="ctr" anchorCtr="1">
                <a:spAutoFit/>
              </a:bodyPr>
              <a:lstStyle/>
              <a:p>
                <a:pPr algn="ctr">
                  <a:defRPr lang="nl-BE" sz="14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B$1:$E$1</c:f>
              <c:strCache>
                <c:ptCount val="4"/>
                <c:pt idx="0">
                  <c:v>(n=1087)
</c:v>
                </c:pt>
                <c:pt idx="1">
                  <c:v>(n=87)
(A)</c:v>
                </c:pt>
                <c:pt idx="2">
                  <c:v>(n=138)
(B)</c:v>
                </c:pt>
                <c:pt idx="3">
                  <c:v>(n=855)
(C)</c:v>
                </c:pt>
              </c:strCache>
            </c:strRef>
          </c:cat>
          <c:val>
            <c:numRef>
              <c:f>Sheet1!$B$6:$E$6</c:f>
              <c:numCache>
                <c:formatCode>0</c:formatCode>
                <c:ptCount val="4"/>
                <c:pt idx="0">
                  <c:v>14</c:v>
                </c:pt>
                <c:pt idx="1">
                  <c:v>23</c:v>
                </c:pt>
                <c:pt idx="2">
                  <c:v>10.8260585145341</c:v>
                </c:pt>
                <c:pt idx="3">
                  <c:v>14</c:v>
                </c:pt>
              </c:numCache>
            </c:numRef>
          </c:val>
          <c:extLst>
            <c:ext xmlns:c16="http://schemas.microsoft.com/office/drawing/2014/chart" uri="{C3380CC4-5D6E-409C-BE32-E72D297353CC}">
              <c16:uniqueId val="{00000001-8618-4D6E-97DA-212163D729AA}"/>
            </c:ext>
          </c:extLst>
        </c:ser>
        <c:ser>
          <c:idx val="2"/>
          <c:order val="2"/>
          <c:tx>
            <c:strRef>
              <c:f>Sheet1!$A$7</c:f>
              <c:strCache>
                <c:ptCount val="1"/>
                <c:pt idx="0">
                  <c:v>Middels tillit</c:v>
                </c:pt>
              </c:strCache>
            </c:strRef>
          </c:tx>
          <c:spPr>
            <a:solidFill>
              <a:schemeClr val="bg2">
                <a:lumMod val="60000"/>
                <a:lumOff val="40000"/>
              </a:schemeClr>
            </a:solidFill>
            <a:ln>
              <a:noFill/>
            </a:ln>
            <a:effectLst/>
          </c:spPr>
          <c:invertIfNegative val="0"/>
          <c:dLbls>
            <c:numFmt formatCode="0;0;" sourceLinked="0"/>
            <c:spPr>
              <a:noFill/>
              <a:ln>
                <a:noFill/>
              </a:ln>
              <a:effectLst/>
            </c:spPr>
            <c:txPr>
              <a:bodyPr rot="0" vertOverflow="overflow" horzOverflow="overflow" vert="horz" wrap="none" lIns="36000" tIns="0" rIns="36000" bIns="0" anchor="ctr" anchorCtr="1">
                <a:spAutoFit/>
              </a:bodyPr>
              <a:lstStyle/>
              <a:p>
                <a:pPr algn="ctr">
                  <a:defRPr lang="nl-BE" sz="14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B$1:$E$1</c:f>
              <c:strCache>
                <c:ptCount val="4"/>
                <c:pt idx="0">
                  <c:v>(n=1087)
</c:v>
                </c:pt>
                <c:pt idx="1">
                  <c:v>(n=87)
(A)</c:v>
                </c:pt>
                <c:pt idx="2">
                  <c:v>(n=138)
(B)</c:v>
                </c:pt>
                <c:pt idx="3">
                  <c:v>(n=855)
(C)</c:v>
                </c:pt>
              </c:strCache>
            </c:strRef>
          </c:cat>
          <c:val>
            <c:numRef>
              <c:f>Sheet1!$B$7:$E$7</c:f>
              <c:numCache>
                <c:formatCode>0</c:formatCode>
                <c:ptCount val="4"/>
                <c:pt idx="0">
                  <c:v>57</c:v>
                </c:pt>
                <c:pt idx="1">
                  <c:v>48</c:v>
                </c:pt>
                <c:pt idx="2">
                  <c:v>65</c:v>
                </c:pt>
                <c:pt idx="3">
                  <c:v>58</c:v>
                </c:pt>
              </c:numCache>
            </c:numRef>
          </c:val>
          <c:extLst>
            <c:ext xmlns:c16="http://schemas.microsoft.com/office/drawing/2014/chart" uri="{C3380CC4-5D6E-409C-BE32-E72D297353CC}">
              <c16:uniqueId val="{00000002-8618-4D6E-97DA-212163D729AA}"/>
            </c:ext>
          </c:extLst>
        </c:ser>
        <c:ser>
          <c:idx val="3"/>
          <c:order val="3"/>
          <c:tx>
            <c:strRef>
              <c:f>Sheet1!$A$8</c:f>
              <c:strCache>
                <c:ptCount val="1"/>
                <c:pt idx="0">
                  <c:v>Høy tillit</c:v>
                </c:pt>
              </c:strCache>
            </c:strRef>
          </c:tx>
          <c:spPr>
            <a:solidFill>
              <a:schemeClr val="bg2">
                <a:lumMod val="50000"/>
              </a:schemeClr>
            </a:solidFill>
          </c:spPr>
          <c:invertIfNegative val="0"/>
          <c:dLbls>
            <c:spPr>
              <a:noFill/>
              <a:ln>
                <a:noFill/>
              </a:ln>
              <a:effectLst/>
            </c:spPr>
            <c:txPr>
              <a:bodyPr wrap="square" lIns="38100" tIns="19050" rIns="38100" bIns="19050" anchor="ctr">
                <a:spAutoFit/>
              </a:bodyPr>
              <a:lstStyle/>
              <a:p>
                <a:pPr>
                  <a:defRPr sz="1200" b="1">
                    <a:solidFill>
                      <a:schemeClr val="bg1"/>
                    </a:solidFill>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E$1</c:f>
              <c:strCache>
                <c:ptCount val="4"/>
                <c:pt idx="0">
                  <c:v>(n=1087)
</c:v>
                </c:pt>
                <c:pt idx="1">
                  <c:v>(n=87)
(A)</c:v>
                </c:pt>
                <c:pt idx="2">
                  <c:v>(n=138)
(B)</c:v>
                </c:pt>
                <c:pt idx="3">
                  <c:v>(n=855)
(C)</c:v>
                </c:pt>
              </c:strCache>
            </c:strRef>
          </c:cat>
          <c:val>
            <c:numRef>
              <c:f>Sheet1!$B$8:$E$8</c:f>
              <c:numCache>
                <c:formatCode>0</c:formatCode>
                <c:ptCount val="4"/>
                <c:pt idx="0">
                  <c:v>21</c:v>
                </c:pt>
                <c:pt idx="1">
                  <c:v>29</c:v>
                </c:pt>
                <c:pt idx="2">
                  <c:v>23</c:v>
                </c:pt>
                <c:pt idx="3">
                  <c:v>21</c:v>
                </c:pt>
              </c:numCache>
            </c:numRef>
          </c:val>
          <c:extLst>
            <c:ext xmlns:c16="http://schemas.microsoft.com/office/drawing/2014/chart" uri="{C3380CC4-5D6E-409C-BE32-E72D297353CC}">
              <c16:uniqueId val="{00000003-8618-4D6E-97DA-212163D729AA}"/>
            </c:ext>
          </c:extLst>
        </c:ser>
        <c:dLbls>
          <c:showLegendKey val="0"/>
          <c:showVal val="1"/>
          <c:showCatName val="0"/>
          <c:showSerName val="0"/>
          <c:showPercent val="0"/>
          <c:showBubbleSize val="0"/>
        </c:dLbls>
        <c:gapWidth val="130"/>
        <c:overlap val="10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max"/>
        <c:auto val="1"/>
        <c:lblAlgn val="ctr"/>
        <c:lblOffset val="0"/>
        <c:noMultiLvlLbl val="0"/>
      </c:catAx>
      <c:valAx>
        <c:axId val="528539008"/>
        <c:scaling>
          <c:orientation val="maxMin"/>
          <c:max val="100"/>
          <c:min val="0"/>
        </c:scaling>
        <c:delete val="0"/>
        <c:axPos val="l"/>
        <c:numFmt formatCode="0" sourceLinked="1"/>
        <c:majorTickMark val="none"/>
        <c:minorTickMark val="none"/>
        <c:tickLblPos val="none"/>
        <c:spPr>
          <a:noFill/>
          <a:ln>
            <a:noFill/>
          </a:ln>
          <a:effectLst/>
        </c:spPr>
        <c:txPr>
          <a:bodyPr rot="-60000000" vert="horz"/>
          <a:lstStyle/>
          <a:p>
            <a:pPr>
              <a:defRPr/>
            </a:pPr>
            <a:endParaRPr lang="nb-NO"/>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b-NO"/>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8849417211680143E-2"/>
          <c:w val="0.99987839741737805"/>
          <c:h val="0.83505379105091715"/>
        </c:manualLayout>
      </c:layout>
      <c:barChart>
        <c:barDir val="col"/>
        <c:grouping val="stacked"/>
        <c:varyColors val="0"/>
        <c:ser>
          <c:idx val="0"/>
          <c:order val="0"/>
          <c:tx>
            <c:strRef>
              <c:f>Sheet1!$A$5</c:f>
              <c:strCache>
                <c:ptCount val="1"/>
                <c:pt idx="0">
                  <c:v>Vet ikke/kan ikke svare</c:v>
                </c:pt>
              </c:strCache>
            </c:strRef>
          </c:tx>
          <c:spPr>
            <a:solidFill>
              <a:schemeClr val="bg1">
                <a:lumMod val="75000"/>
              </a:schemeClr>
            </a:solidFill>
            <a:ln>
              <a:noFill/>
            </a:ln>
            <a:effectLst/>
          </c:spPr>
          <c:invertIfNegative val="0"/>
          <c:dLbls>
            <c:numFmt formatCode="0;0;" sourceLinked="0"/>
            <c:spPr>
              <a:noFill/>
              <a:ln>
                <a:noFill/>
              </a:ln>
              <a:effectLst/>
            </c:spPr>
            <c:txPr>
              <a:bodyPr rot="0" vertOverflow="overflow" horzOverflow="overflow" vert="horz" wrap="none" lIns="36000" tIns="0" rIns="36000" bIns="0">
                <a:spAutoFit/>
              </a:bodyPr>
              <a:lstStyle/>
              <a:p>
                <a:pPr>
                  <a:defRPr sz="1400" b="1">
                    <a:solidFill>
                      <a:schemeClr val="bg1"/>
                    </a:solidFill>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B$1:$M$1</c:f>
              <c:strCache>
                <c:ptCount val="4"/>
                <c:pt idx="0">
                  <c:v>(n=1087)
</c:v>
                </c:pt>
                <c:pt idx="1">
                  <c:v>(n=535)
(A)</c:v>
                </c:pt>
                <c:pt idx="2">
                  <c:v>(n=552)
(B)</c:v>
                </c:pt>
                <c:pt idx="3">
                  <c:v>(n=215)
(C)</c:v>
                </c:pt>
              </c:strCache>
            </c:strRef>
          </c:cat>
          <c:val>
            <c:numRef>
              <c:f>Sheet1!$B$5:$M$5</c:f>
              <c:numCache>
                <c:formatCode>0</c:formatCode>
                <c:ptCount val="12"/>
                <c:pt idx="0">
                  <c:v>7</c:v>
                </c:pt>
                <c:pt idx="1">
                  <c:v>6.8085928783389704</c:v>
                </c:pt>
                <c:pt idx="2">
                  <c:v>7.4718992613834301</c:v>
                </c:pt>
                <c:pt idx="3">
                  <c:v>5.2879481342603203</c:v>
                </c:pt>
                <c:pt idx="4">
                  <c:v>6.1118592086982604</c:v>
                </c:pt>
                <c:pt idx="5">
                  <c:v>8.3989848785691503</c:v>
                </c:pt>
                <c:pt idx="6">
                  <c:v>7.5019405755995496</c:v>
                </c:pt>
                <c:pt idx="7">
                  <c:v>4.8036526515745699</c:v>
                </c:pt>
                <c:pt idx="8">
                  <c:v>7.5327446901589301</c:v>
                </c:pt>
                <c:pt idx="9">
                  <c:v>7.3019904014054697</c:v>
                </c:pt>
                <c:pt idx="10">
                  <c:v>7.6462326520972699</c:v>
                </c:pt>
                <c:pt idx="11">
                  <c:v>7.6382214620031004</c:v>
                </c:pt>
              </c:numCache>
            </c:numRef>
          </c:val>
          <c:extLst>
            <c:ext xmlns:c16="http://schemas.microsoft.com/office/drawing/2014/chart" uri="{C3380CC4-5D6E-409C-BE32-E72D297353CC}">
              <c16:uniqueId val="{00000000-8618-4D6E-97DA-212163D729AA}"/>
            </c:ext>
          </c:extLst>
        </c:ser>
        <c:ser>
          <c:idx val="1"/>
          <c:order val="1"/>
          <c:tx>
            <c:strRef>
              <c:f>Sheet1!$A$6</c:f>
              <c:strCache>
                <c:ptCount val="1"/>
                <c:pt idx="0">
                  <c:v>Lav tillit</c:v>
                </c:pt>
              </c:strCache>
            </c:strRef>
          </c:tx>
          <c:spPr>
            <a:solidFill>
              <a:schemeClr val="bg2">
                <a:lumMod val="40000"/>
                <a:lumOff val="60000"/>
              </a:schemeClr>
            </a:solidFill>
            <a:ln>
              <a:noFill/>
            </a:ln>
            <a:effectLst/>
          </c:spPr>
          <c:invertIfNegative val="0"/>
          <c:dLbls>
            <c:numFmt formatCode="0;0;" sourceLinked="0"/>
            <c:spPr>
              <a:noFill/>
              <a:ln>
                <a:noFill/>
              </a:ln>
              <a:effectLst/>
            </c:spPr>
            <c:txPr>
              <a:bodyPr rot="0" vertOverflow="overflow" horzOverflow="overflow" vert="horz" wrap="none" lIns="36000" tIns="0" rIns="36000" bIns="0" anchor="ctr" anchorCtr="1">
                <a:spAutoFit/>
              </a:bodyPr>
              <a:lstStyle/>
              <a:p>
                <a:pPr algn="ctr">
                  <a:defRPr lang="nl-BE" sz="14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B$1:$M$1</c:f>
              <c:strCache>
                <c:ptCount val="4"/>
                <c:pt idx="0">
                  <c:v>(n=1087)
</c:v>
                </c:pt>
                <c:pt idx="1">
                  <c:v>(n=535)
(A)</c:v>
                </c:pt>
                <c:pt idx="2">
                  <c:v>(n=552)
(B)</c:v>
                </c:pt>
                <c:pt idx="3">
                  <c:v>(n=215)
(C)</c:v>
                </c:pt>
              </c:strCache>
            </c:strRef>
          </c:cat>
          <c:val>
            <c:numRef>
              <c:f>Sheet1!$B$6:$M$6</c:f>
              <c:numCache>
                <c:formatCode>0</c:formatCode>
                <c:ptCount val="12"/>
                <c:pt idx="0">
                  <c:v>14</c:v>
                </c:pt>
                <c:pt idx="1">
                  <c:v>12.2341357934796</c:v>
                </c:pt>
                <c:pt idx="2">
                  <c:v>15.876388026162299</c:v>
                </c:pt>
                <c:pt idx="3">
                  <c:v>7.5779436640079796</c:v>
                </c:pt>
                <c:pt idx="4">
                  <c:v>16.998683852589402</c:v>
                </c:pt>
                <c:pt idx="5">
                  <c:v>15.3890056632534</c:v>
                </c:pt>
                <c:pt idx="6">
                  <c:v>14.845157979143</c:v>
                </c:pt>
                <c:pt idx="7">
                  <c:v>8.4459905759711198</c:v>
                </c:pt>
                <c:pt idx="8">
                  <c:v>15.692446081083601</c:v>
                </c:pt>
                <c:pt idx="9">
                  <c:v>12.530631027276799</c:v>
                </c:pt>
                <c:pt idx="10">
                  <c:v>15.481237947156201</c:v>
                </c:pt>
                <c:pt idx="11">
                  <c:v>17.4692133549777</c:v>
                </c:pt>
              </c:numCache>
            </c:numRef>
          </c:val>
          <c:extLst>
            <c:ext xmlns:c16="http://schemas.microsoft.com/office/drawing/2014/chart" uri="{C3380CC4-5D6E-409C-BE32-E72D297353CC}">
              <c16:uniqueId val="{00000001-8618-4D6E-97DA-212163D729AA}"/>
            </c:ext>
          </c:extLst>
        </c:ser>
        <c:ser>
          <c:idx val="2"/>
          <c:order val="2"/>
          <c:tx>
            <c:strRef>
              <c:f>Sheet1!$A$7</c:f>
              <c:strCache>
                <c:ptCount val="1"/>
                <c:pt idx="0">
                  <c:v>Middels tillit</c:v>
                </c:pt>
              </c:strCache>
            </c:strRef>
          </c:tx>
          <c:spPr>
            <a:solidFill>
              <a:schemeClr val="bg2">
                <a:lumMod val="60000"/>
                <a:lumOff val="40000"/>
              </a:schemeClr>
            </a:solidFill>
            <a:ln>
              <a:noFill/>
            </a:ln>
            <a:effectLst/>
          </c:spPr>
          <c:invertIfNegative val="0"/>
          <c:dLbls>
            <c:numFmt formatCode="0;0;" sourceLinked="0"/>
            <c:spPr>
              <a:noFill/>
              <a:ln>
                <a:noFill/>
              </a:ln>
              <a:effectLst/>
            </c:spPr>
            <c:txPr>
              <a:bodyPr rot="0" vertOverflow="overflow" horzOverflow="overflow" vert="horz" wrap="none" lIns="36000" tIns="0" rIns="36000" bIns="0" anchor="ctr" anchorCtr="1">
                <a:spAutoFit/>
              </a:bodyPr>
              <a:lstStyle/>
              <a:p>
                <a:pPr algn="ctr">
                  <a:defRPr lang="nl-BE" sz="14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B$1:$M$1</c:f>
              <c:strCache>
                <c:ptCount val="4"/>
                <c:pt idx="0">
                  <c:v>(n=1087)
</c:v>
                </c:pt>
                <c:pt idx="1">
                  <c:v>(n=535)
(A)</c:v>
                </c:pt>
                <c:pt idx="2">
                  <c:v>(n=552)
(B)</c:v>
                </c:pt>
                <c:pt idx="3">
                  <c:v>(n=215)
(C)</c:v>
                </c:pt>
              </c:strCache>
            </c:strRef>
          </c:cat>
          <c:val>
            <c:numRef>
              <c:f>Sheet1!$B$7:$M$7</c:f>
              <c:numCache>
                <c:formatCode>0</c:formatCode>
                <c:ptCount val="12"/>
                <c:pt idx="0">
                  <c:v>57</c:v>
                </c:pt>
                <c:pt idx="1">
                  <c:v>55.130960383523401</c:v>
                </c:pt>
                <c:pt idx="2">
                  <c:v>59.615939394069798</c:v>
                </c:pt>
                <c:pt idx="3">
                  <c:v>59.422713674908898</c:v>
                </c:pt>
                <c:pt idx="4">
                  <c:v>52.423084047907899</c:v>
                </c:pt>
                <c:pt idx="5">
                  <c:v>57.714525466679</c:v>
                </c:pt>
                <c:pt idx="6">
                  <c:v>58.608034791520502</c:v>
                </c:pt>
                <c:pt idx="7">
                  <c:v>53.808298102808102</c:v>
                </c:pt>
                <c:pt idx="8">
                  <c:v>57.115487997623802</c:v>
                </c:pt>
                <c:pt idx="9">
                  <c:v>58.780964132754796</c:v>
                </c:pt>
                <c:pt idx="10">
                  <c:v>57.6432217784606</c:v>
                </c:pt>
                <c:pt idx="11">
                  <c:v>59.066622877934499</c:v>
                </c:pt>
              </c:numCache>
            </c:numRef>
          </c:val>
          <c:extLst>
            <c:ext xmlns:c16="http://schemas.microsoft.com/office/drawing/2014/chart" uri="{C3380CC4-5D6E-409C-BE32-E72D297353CC}">
              <c16:uniqueId val="{00000002-8618-4D6E-97DA-212163D729AA}"/>
            </c:ext>
          </c:extLst>
        </c:ser>
        <c:ser>
          <c:idx val="3"/>
          <c:order val="3"/>
          <c:tx>
            <c:strRef>
              <c:f>Sheet1!$A$8</c:f>
              <c:strCache>
                <c:ptCount val="1"/>
                <c:pt idx="0">
                  <c:v>Høy tillit</c:v>
                </c:pt>
              </c:strCache>
            </c:strRef>
          </c:tx>
          <c:spPr>
            <a:solidFill>
              <a:schemeClr val="bg2">
                <a:lumMod val="50000"/>
              </a:schemeClr>
            </a:solidFill>
          </c:spPr>
          <c:invertIfNegative val="0"/>
          <c:dLbls>
            <c:spPr>
              <a:noFill/>
              <a:ln>
                <a:noFill/>
              </a:ln>
              <a:effectLst/>
            </c:spPr>
            <c:txPr>
              <a:bodyPr wrap="square" lIns="38100" tIns="19050" rIns="38100" bIns="19050" anchor="ctr">
                <a:spAutoFit/>
              </a:bodyPr>
              <a:lstStyle/>
              <a:p>
                <a:pPr>
                  <a:defRPr sz="1200" b="1">
                    <a:solidFill>
                      <a:schemeClr val="bg1"/>
                    </a:solidFill>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M$1</c:f>
              <c:strCache>
                <c:ptCount val="4"/>
                <c:pt idx="0">
                  <c:v>(n=1087)
</c:v>
                </c:pt>
                <c:pt idx="1">
                  <c:v>(n=535)
(A)</c:v>
                </c:pt>
                <c:pt idx="2">
                  <c:v>(n=552)
(B)</c:v>
                </c:pt>
                <c:pt idx="3">
                  <c:v>(n=215)
(C)</c:v>
                </c:pt>
              </c:strCache>
            </c:strRef>
          </c:cat>
          <c:val>
            <c:numRef>
              <c:f>Sheet1!$B$8:$M$8</c:f>
              <c:numCache>
                <c:formatCode>0</c:formatCode>
                <c:ptCount val="12"/>
                <c:pt idx="0">
                  <c:v>21</c:v>
                </c:pt>
                <c:pt idx="1">
                  <c:v>25.826310944658299</c:v>
                </c:pt>
                <c:pt idx="2">
                  <c:v>17.0357733183845</c:v>
                </c:pt>
                <c:pt idx="3">
                  <c:v>27.711394526822598</c:v>
                </c:pt>
                <c:pt idx="4">
                  <c:v>24.4663728908046</c:v>
                </c:pt>
                <c:pt idx="5">
                  <c:v>18.497483991498701</c:v>
                </c:pt>
                <c:pt idx="6">
                  <c:v>19.044866653736801</c:v>
                </c:pt>
                <c:pt idx="7">
                  <c:v>32.9420586696463</c:v>
                </c:pt>
                <c:pt idx="8">
                  <c:v>19.6593212311336</c:v>
                </c:pt>
                <c:pt idx="9">
                  <c:v>21.386414438562898</c:v>
                </c:pt>
                <c:pt idx="10">
                  <c:v>19.229307622285798</c:v>
                </c:pt>
                <c:pt idx="11">
                  <c:v>15.825942305084601</c:v>
                </c:pt>
              </c:numCache>
            </c:numRef>
          </c:val>
          <c:extLst>
            <c:ext xmlns:c16="http://schemas.microsoft.com/office/drawing/2014/chart" uri="{C3380CC4-5D6E-409C-BE32-E72D297353CC}">
              <c16:uniqueId val="{00000003-8618-4D6E-97DA-212163D729AA}"/>
            </c:ext>
          </c:extLst>
        </c:ser>
        <c:dLbls>
          <c:showLegendKey val="0"/>
          <c:showVal val="1"/>
          <c:showCatName val="0"/>
          <c:showSerName val="0"/>
          <c:showPercent val="0"/>
          <c:showBubbleSize val="0"/>
        </c:dLbls>
        <c:gapWidth val="130"/>
        <c:overlap val="10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max"/>
        <c:auto val="1"/>
        <c:lblAlgn val="ctr"/>
        <c:lblOffset val="0"/>
        <c:noMultiLvlLbl val="0"/>
      </c:catAx>
      <c:valAx>
        <c:axId val="528539008"/>
        <c:scaling>
          <c:orientation val="maxMin"/>
          <c:max val="100"/>
          <c:min val="0"/>
        </c:scaling>
        <c:delete val="0"/>
        <c:axPos val="l"/>
        <c:numFmt formatCode="0" sourceLinked="1"/>
        <c:majorTickMark val="none"/>
        <c:minorTickMark val="none"/>
        <c:tickLblPos val="none"/>
        <c:spPr>
          <a:noFill/>
          <a:ln>
            <a:noFill/>
          </a:ln>
          <a:effectLst/>
        </c:spPr>
        <c:txPr>
          <a:bodyPr rot="-60000000" vert="horz"/>
          <a:lstStyle/>
          <a:p>
            <a:pPr>
              <a:defRPr/>
            </a:pPr>
            <a:endParaRPr lang="nb-NO"/>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b-NO"/>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49119667652792E-2"/>
          <c:y val="7.1927887669031368E-2"/>
          <c:w val="0.96061738688974829"/>
          <c:h val="0.74866217450098815"/>
        </c:manualLayout>
      </c:layout>
      <c:barChart>
        <c:barDir val="col"/>
        <c:grouping val="clustered"/>
        <c:varyColors val="0"/>
        <c:ser>
          <c:idx val="0"/>
          <c:order val="0"/>
          <c:tx>
            <c:strRef>
              <c:f>Sheet1!$B$1</c:f>
              <c:strCache>
                <c:ptCount val="1"/>
                <c:pt idx="0">
                  <c:v>Ja, som part, dvs. som far eller mor til barnet</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otal</c:v>
                </c:pt>
                <c:pt idx="1">
                  <c:v>18-29 år</c:v>
                </c:pt>
                <c:pt idx="2">
                  <c:v>30-39 år</c:v>
                </c:pt>
                <c:pt idx="3">
                  <c:v>40-59 år</c:v>
                </c:pt>
                <c:pt idx="4">
                  <c:v>60 år +</c:v>
                </c:pt>
                <c:pt idx="5">
                  <c:v>Oslo</c:v>
                </c:pt>
                <c:pt idx="6">
                  <c:v>Østlandet ellers</c:v>
                </c:pt>
                <c:pt idx="7">
                  <c:v>Vestlandet</c:v>
                </c:pt>
                <c:pt idx="8">
                  <c:v>Midt Norge</c:v>
                </c:pt>
                <c:pt idx="9">
                  <c:v>Nord Norge</c:v>
                </c:pt>
              </c:strCache>
            </c:strRef>
          </c:cat>
          <c:val>
            <c:numRef>
              <c:f>Sheet1!$B$2:$B$11</c:f>
              <c:numCache>
                <c:formatCode>General</c:formatCode>
                <c:ptCount val="10"/>
                <c:pt idx="0">
                  <c:v>8</c:v>
                </c:pt>
                <c:pt idx="1">
                  <c:v>10</c:v>
                </c:pt>
                <c:pt idx="2">
                  <c:v>15</c:v>
                </c:pt>
                <c:pt idx="3">
                  <c:v>7</c:v>
                </c:pt>
                <c:pt idx="4">
                  <c:v>3</c:v>
                </c:pt>
                <c:pt idx="5">
                  <c:v>13</c:v>
                </c:pt>
                <c:pt idx="6">
                  <c:v>7</c:v>
                </c:pt>
                <c:pt idx="7">
                  <c:v>8</c:v>
                </c:pt>
                <c:pt idx="8">
                  <c:v>3</c:v>
                </c:pt>
                <c:pt idx="9">
                  <c:v>8</c:v>
                </c:pt>
              </c:numCache>
            </c:numRef>
          </c:val>
          <c:extLst>
            <c:ext xmlns:c16="http://schemas.microsoft.com/office/drawing/2014/chart" uri="{C3380CC4-5D6E-409C-BE32-E72D297353CC}">
              <c16:uniqueId val="{00000000-F36E-420B-9D49-5B9794933366}"/>
            </c:ext>
          </c:extLst>
        </c:ser>
        <c:ser>
          <c:idx val="1"/>
          <c:order val="1"/>
          <c:tx>
            <c:strRef>
              <c:f>Sheet1!$C$1</c:f>
              <c:strCache>
                <c:ptCount val="1"/>
                <c:pt idx="0">
                  <c:v>Ja, i en annen rolle</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otal</c:v>
                </c:pt>
                <c:pt idx="1">
                  <c:v>18-29 år</c:v>
                </c:pt>
                <c:pt idx="2">
                  <c:v>30-39 år</c:v>
                </c:pt>
                <c:pt idx="3">
                  <c:v>40-59 år</c:v>
                </c:pt>
                <c:pt idx="4">
                  <c:v>60 år +</c:v>
                </c:pt>
                <c:pt idx="5">
                  <c:v>Oslo</c:v>
                </c:pt>
                <c:pt idx="6">
                  <c:v>Østlandet ellers</c:v>
                </c:pt>
                <c:pt idx="7">
                  <c:v>Vestlandet</c:v>
                </c:pt>
                <c:pt idx="8">
                  <c:v>Midt Norge</c:v>
                </c:pt>
                <c:pt idx="9">
                  <c:v>Nord Norge</c:v>
                </c:pt>
              </c:strCache>
            </c:strRef>
          </c:cat>
          <c:val>
            <c:numRef>
              <c:f>Sheet1!$C$2:$C$11</c:f>
              <c:numCache>
                <c:formatCode>General</c:formatCode>
                <c:ptCount val="10"/>
                <c:pt idx="0">
                  <c:v>12</c:v>
                </c:pt>
                <c:pt idx="1">
                  <c:v>25</c:v>
                </c:pt>
                <c:pt idx="2">
                  <c:v>16</c:v>
                </c:pt>
                <c:pt idx="3">
                  <c:v>9</c:v>
                </c:pt>
                <c:pt idx="4">
                  <c:v>6</c:v>
                </c:pt>
                <c:pt idx="5">
                  <c:v>16</c:v>
                </c:pt>
                <c:pt idx="6">
                  <c:v>9</c:v>
                </c:pt>
                <c:pt idx="7">
                  <c:v>14</c:v>
                </c:pt>
                <c:pt idx="8">
                  <c:v>13</c:v>
                </c:pt>
                <c:pt idx="9">
                  <c:v>15</c:v>
                </c:pt>
              </c:numCache>
            </c:numRef>
          </c:val>
          <c:extLst>
            <c:ext xmlns:c16="http://schemas.microsoft.com/office/drawing/2014/chart" uri="{C3380CC4-5D6E-409C-BE32-E72D297353CC}">
              <c16:uniqueId val="{00000001-F36E-420B-9D49-5B9794933366}"/>
            </c:ext>
          </c:extLst>
        </c:ser>
        <c:ser>
          <c:idx val="2"/>
          <c:order val="2"/>
          <c:tx>
            <c:strRef>
              <c:f>Sheet1!$D$1</c:f>
              <c:strCache>
                <c:ptCount val="1"/>
                <c:pt idx="0">
                  <c:v>Nei</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otal</c:v>
                </c:pt>
                <c:pt idx="1">
                  <c:v>18-29 år</c:v>
                </c:pt>
                <c:pt idx="2">
                  <c:v>30-39 år</c:v>
                </c:pt>
                <c:pt idx="3">
                  <c:v>40-59 år</c:v>
                </c:pt>
                <c:pt idx="4">
                  <c:v>60 år +</c:v>
                </c:pt>
                <c:pt idx="5">
                  <c:v>Oslo</c:v>
                </c:pt>
                <c:pt idx="6">
                  <c:v>Østlandet ellers</c:v>
                </c:pt>
                <c:pt idx="7">
                  <c:v>Vestlandet</c:v>
                </c:pt>
                <c:pt idx="8">
                  <c:v>Midt Norge</c:v>
                </c:pt>
                <c:pt idx="9">
                  <c:v>Nord Norge</c:v>
                </c:pt>
              </c:strCache>
            </c:strRef>
          </c:cat>
          <c:val>
            <c:numRef>
              <c:f>Sheet1!$D$2:$D$11</c:f>
              <c:numCache>
                <c:formatCode>General</c:formatCode>
                <c:ptCount val="10"/>
                <c:pt idx="0">
                  <c:v>80</c:v>
                </c:pt>
                <c:pt idx="1">
                  <c:v>66</c:v>
                </c:pt>
                <c:pt idx="2">
                  <c:v>71</c:v>
                </c:pt>
                <c:pt idx="3">
                  <c:v>82</c:v>
                </c:pt>
                <c:pt idx="4">
                  <c:v>91</c:v>
                </c:pt>
                <c:pt idx="5">
                  <c:v>71</c:v>
                </c:pt>
                <c:pt idx="6">
                  <c:v>83</c:v>
                </c:pt>
                <c:pt idx="7">
                  <c:v>78</c:v>
                </c:pt>
                <c:pt idx="8">
                  <c:v>85</c:v>
                </c:pt>
                <c:pt idx="9">
                  <c:v>77</c:v>
                </c:pt>
              </c:numCache>
            </c:numRef>
          </c:val>
          <c:extLst>
            <c:ext xmlns:c16="http://schemas.microsoft.com/office/drawing/2014/chart" uri="{C3380CC4-5D6E-409C-BE32-E72D297353CC}">
              <c16:uniqueId val="{00000002-F36E-420B-9D49-5B9794933366}"/>
            </c:ext>
          </c:extLst>
        </c:ser>
        <c:dLbls>
          <c:dLblPos val="outEnd"/>
          <c:showLegendKey val="0"/>
          <c:showVal val="1"/>
          <c:showCatName val="0"/>
          <c:showSerName val="0"/>
          <c:showPercent val="0"/>
          <c:showBubbleSize val="0"/>
        </c:dLbls>
        <c:gapWidth val="223"/>
        <c:overlap val="-20"/>
        <c:axId val="813710176"/>
        <c:axId val="813708376"/>
      </c:barChart>
      <c:catAx>
        <c:axId val="813710176"/>
        <c:scaling>
          <c:orientation val="minMax"/>
        </c:scaling>
        <c:delete val="1"/>
        <c:axPos val="b"/>
        <c:numFmt formatCode="General" sourceLinked="1"/>
        <c:majorTickMark val="none"/>
        <c:minorTickMark val="none"/>
        <c:tickLblPos val="nextTo"/>
        <c:crossAx val="813708376"/>
        <c:crosses val="autoZero"/>
        <c:auto val="1"/>
        <c:lblAlgn val="ctr"/>
        <c:lblOffset val="100"/>
        <c:noMultiLvlLbl val="0"/>
      </c:catAx>
      <c:valAx>
        <c:axId val="813708376"/>
        <c:scaling>
          <c:orientation val="minMax"/>
        </c:scaling>
        <c:delete val="1"/>
        <c:axPos val="l"/>
        <c:numFmt formatCode="General" sourceLinked="1"/>
        <c:majorTickMark val="none"/>
        <c:minorTickMark val="none"/>
        <c:tickLblPos val="nextTo"/>
        <c:crossAx val="813710176"/>
        <c:crosses val="autoZero"/>
        <c:crossBetween val="between"/>
      </c:valAx>
      <c:spPr>
        <a:noFill/>
        <a:ln>
          <a:noFill/>
        </a:ln>
        <a:effectLst/>
      </c:spPr>
    </c:plotArea>
    <c:legend>
      <c:legendPos val="b"/>
      <c:layout>
        <c:manualLayout>
          <c:xMode val="edge"/>
          <c:yMode val="edge"/>
          <c:x val="0.21120869578254309"/>
          <c:y val="0.91498449667992576"/>
          <c:w val="0.5552292504403048"/>
          <c:h val="5.239661362452361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latin typeface="Arial" panose="020B0604020202020204" pitchFamily="34" charset="0"/>
              </a:rPr>
              <a:pPr algn="ctr"/>
              <a:t>‹#›</a:t>
            </a:fld>
            <a:endParaRPr lang="en-GB" dirty="0">
              <a:latin typeface="Arial" panose="020B0604020202020204" pitchFamily="34" charset="0"/>
            </a:endParaRPr>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GB" dirty="0"/>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atin typeface="Arial" panose="020B0604020202020204" pitchFamily="34" charset="0"/>
              </a:defRPr>
            </a:lvl1pPr>
          </a:lstStyle>
          <a:p>
            <a:fld id="{3B8578AD-0529-46A5-84EB-6338160D5A7D}" type="slidenum">
              <a:rPr lang="en-GB" smtClean="0"/>
              <a:pPr/>
              <a:t>‹#›</a:t>
            </a:fld>
            <a:endParaRPr lang="en-GB" dirty="0"/>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oleObject" Target="../embeddings/oleObject1.bin"/><Relationship Id="rId9"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4" name="Angled stripes">
            <a:extLst>
              <a:ext uri="{FF2B5EF4-FFF2-40B4-BE49-F238E27FC236}">
                <a16:creationId xmlns:a16="http://schemas.microsoft.com/office/drawing/2014/main" id="{A8EA68A2-B3CB-46BE-94E3-EBB01F4103C8}"/>
              </a:ext>
            </a:extLst>
          </p:cNvPr>
          <p:cNvGrpSpPr/>
          <p:nvPr userDrawn="1"/>
        </p:nvGrpSpPr>
        <p:grpSpPr>
          <a:xfrm>
            <a:off x="3254052" y="0"/>
            <a:ext cx="8937949" cy="6858001"/>
            <a:chOff x="3254052" y="0"/>
            <a:chExt cx="8937949" cy="6858001"/>
          </a:xfrm>
        </p:grpSpPr>
        <p:sp>
          <p:nvSpPr>
            <p:cNvPr id="18" name="Angled stripe 1">
              <a:extLst>
                <a:ext uri="{FF2B5EF4-FFF2-40B4-BE49-F238E27FC236}">
                  <a16:creationId xmlns:a16="http://schemas.microsoft.com/office/drawing/2014/main" id="{C012E8E7-7252-4438-A68B-CADE1F561D2D}"/>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Angled stripe 2">
              <a:extLst>
                <a:ext uri="{FF2B5EF4-FFF2-40B4-BE49-F238E27FC236}">
                  <a16:creationId xmlns:a16="http://schemas.microsoft.com/office/drawing/2014/main" id="{27B5733E-7515-4407-8570-8EB72A299589}"/>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3" name="strTitle">
            <a:extLst>
              <a:ext uri="{FF2B5EF4-FFF2-40B4-BE49-F238E27FC236}">
                <a16:creationId xmlns:a16="http://schemas.microsoft.com/office/drawing/2014/main" id="{0720AE2E-312C-4683-8989-D798355BADAA}"/>
              </a:ext>
            </a:extLst>
          </p:cNvPr>
          <p:cNvSpPr>
            <a:spLocks noGrp="1"/>
          </p:cNvSpPr>
          <p:nvPr>
            <p:ph type="ctrTitle" hasCustomPrompt="1"/>
          </p:nvPr>
        </p:nvSpPr>
        <p:spPr>
          <a:xfrm>
            <a:off x="407368" y="521852"/>
            <a:ext cx="7551997" cy="2479650"/>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24" name="strSubtitle">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0736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16" name="strDate">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0736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cxnSp>
        <p:nvCxnSpPr>
          <p:cNvPr id="17" name="Hline">
            <a:extLst>
              <a:ext uri="{FF2B5EF4-FFF2-40B4-BE49-F238E27FC236}">
                <a16:creationId xmlns:a16="http://schemas.microsoft.com/office/drawing/2014/main" id="{79935D5E-B7ED-4F9D-A894-6B0811A25EEF}"/>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GameChangers">
            <a:extLst>
              <a:ext uri="{FF2B5EF4-FFF2-40B4-BE49-F238E27FC236}">
                <a16:creationId xmlns:a16="http://schemas.microsoft.com/office/drawing/2014/main" id="{EB66571D-7053-4674-B8FB-39C28B00D88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1" name="IpsosLogo">
            <a:extLst>
              <a:ext uri="{FF2B5EF4-FFF2-40B4-BE49-F238E27FC236}">
                <a16:creationId xmlns:a16="http://schemas.microsoft.com/office/drawing/2014/main" id="{E01017A4-D304-441E-9D3A-D03E5A1B93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3" userDrawn="1">
          <p15:clr>
            <a:srgbClr val="FBAE40"/>
          </p15:clr>
        </p15:guide>
        <p15:guide id="2" orient="horz" pos="1888" userDrawn="1">
          <p15:clr>
            <a:srgbClr val="FBAE40"/>
          </p15:clr>
        </p15:guide>
        <p15:guide id="4" orient="horz" pos="331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_Photo">
    <p:spTree>
      <p:nvGrpSpPr>
        <p:cNvPr id="1" name=""/>
        <p:cNvGrpSpPr/>
        <p:nvPr/>
      </p:nvGrpSpPr>
      <p:grpSpPr>
        <a:xfrm>
          <a:off x="0" y="0"/>
          <a:ext cx="0" cy="0"/>
          <a:chOff x="0" y="0"/>
          <a:chExt cx="0" cy="0"/>
        </a:xfrm>
      </p:grpSpPr>
      <p:sp>
        <p:nvSpPr>
          <p:cNvPr id="57" name="Picture Placeholder">
            <a:extLst>
              <a:ext uri="{FF2B5EF4-FFF2-40B4-BE49-F238E27FC236}">
                <a16:creationId xmlns:a16="http://schemas.microsoft.com/office/drawing/2014/main" id="{E18947DC-1E0A-470C-8A8F-054822CACC1F}"/>
              </a:ext>
            </a:extLst>
          </p:cNvPr>
          <p:cNvSpPr>
            <a:spLocks noGrp="1"/>
          </p:cNvSpPr>
          <p:nvPr>
            <p:ph type="pic" sz="quarter" idx="15"/>
          </p:nvPr>
        </p:nvSpPr>
        <p:spPr>
          <a:xfrm>
            <a:off x="2" y="1"/>
            <a:ext cx="12191999" cy="6858000"/>
          </a:xfrm>
          <a:custGeom>
            <a:avLst/>
            <a:gdLst>
              <a:gd name="connsiteX0" fmla="*/ 11642564 w 12191999"/>
              <a:gd name="connsiteY0" fmla="*/ 6693274 h 6854824"/>
              <a:gd name="connsiteX1" fmla="*/ 11654982 w 12191999"/>
              <a:gd name="connsiteY1" fmla="*/ 6698939 h 6854824"/>
              <a:gd name="connsiteX2" fmla="*/ 11659977 w 12191999"/>
              <a:gd name="connsiteY2" fmla="*/ 6715598 h 6854824"/>
              <a:gd name="connsiteX3" fmla="*/ 11655010 w 12191999"/>
              <a:gd name="connsiteY3" fmla="*/ 6732955 h 6854824"/>
              <a:gd name="connsiteX4" fmla="*/ 11642564 w 12191999"/>
              <a:gd name="connsiteY4" fmla="*/ 6738648 h 6854824"/>
              <a:gd name="connsiteX5" fmla="*/ 11630062 w 12191999"/>
              <a:gd name="connsiteY5" fmla="*/ 6732983 h 6854824"/>
              <a:gd name="connsiteX6" fmla="*/ 11625095 w 12191999"/>
              <a:gd name="connsiteY6" fmla="*/ 6715933 h 6854824"/>
              <a:gd name="connsiteX7" fmla="*/ 11630062 w 12191999"/>
              <a:gd name="connsiteY7" fmla="*/ 6698911 h 6854824"/>
              <a:gd name="connsiteX8" fmla="*/ 11642564 w 12191999"/>
              <a:gd name="connsiteY8" fmla="*/ 6693274 h 6854824"/>
              <a:gd name="connsiteX9" fmla="*/ 11522458 w 12191999"/>
              <a:gd name="connsiteY9" fmla="*/ 6692827 h 6854824"/>
              <a:gd name="connsiteX10" fmla="*/ 11533592 w 12191999"/>
              <a:gd name="connsiteY10" fmla="*/ 6698464 h 6854824"/>
              <a:gd name="connsiteX11" fmla="*/ 11538253 w 12191999"/>
              <a:gd name="connsiteY11" fmla="*/ 6715431 h 6854824"/>
              <a:gd name="connsiteX12" fmla="*/ 11533481 w 12191999"/>
              <a:gd name="connsiteY12" fmla="*/ 6732983 h 6854824"/>
              <a:gd name="connsiteX13" fmla="*/ 11522012 w 12191999"/>
              <a:gd name="connsiteY13" fmla="*/ 6738648 h 6854824"/>
              <a:gd name="connsiteX14" fmla="*/ 11510794 w 12191999"/>
              <a:gd name="connsiteY14" fmla="*/ 6733178 h 6854824"/>
              <a:gd name="connsiteX15" fmla="*/ 11506162 w 12191999"/>
              <a:gd name="connsiteY15" fmla="*/ 6716268 h 6854824"/>
              <a:gd name="connsiteX16" fmla="*/ 11511101 w 12191999"/>
              <a:gd name="connsiteY16" fmla="*/ 6698827 h 6854824"/>
              <a:gd name="connsiteX17" fmla="*/ 11522458 w 12191999"/>
              <a:gd name="connsiteY17" fmla="*/ 6692827 h 6854824"/>
              <a:gd name="connsiteX18" fmla="*/ 11704662 w 12191999"/>
              <a:gd name="connsiteY18" fmla="*/ 6684958 h 6854824"/>
              <a:gd name="connsiteX19" fmla="*/ 11695984 w 12191999"/>
              <a:gd name="connsiteY19" fmla="*/ 6686158 h 6854824"/>
              <a:gd name="connsiteX20" fmla="*/ 11689593 w 12191999"/>
              <a:gd name="connsiteY20" fmla="*/ 6689088 h 6854824"/>
              <a:gd name="connsiteX21" fmla="*/ 11684654 w 12191999"/>
              <a:gd name="connsiteY21" fmla="*/ 6694697 h 6854824"/>
              <a:gd name="connsiteX22" fmla="*/ 11682840 w 12191999"/>
              <a:gd name="connsiteY22" fmla="*/ 6702036 h 6854824"/>
              <a:gd name="connsiteX23" fmla="*/ 11685045 w 12191999"/>
              <a:gd name="connsiteY23" fmla="*/ 6709989 h 6854824"/>
              <a:gd name="connsiteX24" fmla="*/ 11691519 w 12191999"/>
              <a:gd name="connsiteY24" fmla="*/ 6715626 h 6854824"/>
              <a:gd name="connsiteX25" fmla="*/ 11706839 w 12191999"/>
              <a:gd name="connsiteY25" fmla="*/ 6720454 h 6854824"/>
              <a:gd name="connsiteX26" fmla="*/ 11717108 w 12191999"/>
              <a:gd name="connsiteY26" fmla="*/ 6723858 h 6854824"/>
              <a:gd name="connsiteX27" fmla="*/ 11720066 w 12191999"/>
              <a:gd name="connsiteY27" fmla="*/ 6729216 h 6854824"/>
              <a:gd name="connsiteX28" fmla="*/ 11716717 w 12191999"/>
              <a:gd name="connsiteY28" fmla="*/ 6735829 h 6854824"/>
              <a:gd name="connsiteX29" fmla="*/ 11706448 w 12191999"/>
              <a:gd name="connsiteY29" fmla="*/ 6738648 h 6854824"/>
              <a:gd name="connsiteX30" fmla="*/ 11695761 w 12191999"/>
              <a:gd name="connsiteY30" fmla="*/ 6735467 h 6854824"/>
              <a:gd name="connsiteX31" fmla="*/ 11691100 w 12191999"/>
              <a:gd name="connsiteY31" fmla="*/ 6726314 h 6854824"/>
              <a:gd name="connsiteX32" fmla="*/ 11681166 w 12191999"/>
              <a:gd name="connsiteY32" fmla="*/ 6727876 h 6854824"/>
              <a:gd name="connsiteX33" fmla="*/ 11688896 w 12191999"/>
              <a:gd name="connsiteY33" fmla="*/ 6742108 h 6854824"/>
              <a:gd name="connsiteX34" fmla="*/ 11706504 w 12191999"/>
              <a:gd name="connsiteY34" fmla="*/ 6746908 h 6854824"/>
              <a:gd name="connsiteX35" fmla="*/ 11719006 w 12191999"/>
              <a:gd name="connsiteY35" fmla="*/ 6744480 h 6854824"/>
              <a:gd name="connsiteX36" fmla="*/ 11727461 w 12191999"/>
              <a:gd name="connsiteY36" fmla="*/ 6737615 h 6854824"/>
              <a:gd name="connsiteX37" fmla="*/ 11730391 w 12191999"/>
              <a:gd name="connsiteY37" fmla="*/ 6728155 h 6854824"/>
              <a:gd name="connsiteX38" fmla="*/ 11727991 w 12191999"/>
              <a:gd name="connsiteY38" fmla="*/ 6719561 h 6854824"/>
              <a:gd name="connsiteX39" fmla="*/ 11721378 w 12191999"/>
              <a:gd name="connsiteY39" fmla="*/ 6714286 h 6854824"/>
              <a:gd name="connsiteX40" fmla="*/ 11706504 w 12191999"/>
              <a:gd name="connsiteY40" fmla="*/ 6709626 h 6854824"/>
              <a:gd name="connsiteX41" fmla="*/ 11697630 w 12191999"/>
              <a:gd name="connsiteY41" fmla="*/ 6707059 h 6854824"/>
              <a:gd name="connsiteX42" fmla="*/ 11693779 w 12191999"/>
              <a:gd name="connsiteY42" fmla="*/ 6704380 h 6854824"/>
              <a:gd name="connsiteX43" fmla="*/ 11692551 w 12191999"/>
              <a:gd name="connsiteY43" fmla="*/ 6700864 h 6854824"/>
              <a:gd name="connsiteX44" fmla="*/ 11695509 w 12191999"/>
              <a:gd name="connsiteY44" fmla="*/ 6695506 h 6854824"/>
              <a:gd name="connsiteX45" fmla="*/ 11705388 w 12191999"/>
              <a:gd name="connsiteY45" fmla="*/ 6693218 h 6854824"/>
              <a:gd name="connsiteX46" fmla="*/ 11714457 w 12191999"/>
              <a:gd name="connsiteY46" fmla="*/ 6695785 h 6854824"/>
              <a:gd name="connsiteX47" fmla="*/ 11718336 w 12191999"/>
              <a:gd name="connsiteY47" fmla="*/ 6702929 h 6854824"/>
              <a:gd name="connsiteX48" fmla="*/ 11728159 w 12191999"/>
              <a:gd name="connsiteY48" fmla="*/ 6701590 h 6854824"/>
              <a:gd name="connsiteX49" fmla="*/ 11724698 w 12191999"/>
              <a:gd name="connsiteY49" fmla="*/ 6692409 h 6854824"/>
              <a:gd name="connsiteX50" fmla="*/ 11716913 w 12191999"/>
              <a:gd name="connsiteY50" fmla="*/ 6686967 h 6854824"/>
              <a:gd name="connsiteX51" fmla="*/ 11704662 w 12191999"/>
              <a:gd name="connsiteY51" fmla="*/ 6684958 h 6854824"/>
              <a:gd name="connsiteX52" fmla="*/ 11642564 w 12191999"/>
              <a:gd name="connsiteY52" fmla="*/ 6684958 h 6854824"/>
              <a:gd name="connsiteX53" fmla="*/ 11623923 w 12191999"/>
              <a:gd name="connsiteY53" fmla="*/ 6691544 h 6854824"/>
              <a:gd name="connsiteX54" fmla="*/ 11614770 w 12191999"/>
              <a:gd name="connsiteY54" fmla="*/ 6715933 h 6854824"/>
              <a:gd name="connsiteX55" fmla="*/ 11622444 w 12191999"/>
              <a:gd name="connsiteY55" fmla="*/ 6738927 h 6854824"/>
              <a:gd name="connsiteX56" fmla="*/ 11642564 w 12191999"/>
              <a:gd name="connsiteY56" fmla="*/ 6746908 h 6854824"/>
              <a:gd name="connsiteX57" fmla="*/ 11656879 w 12191999"/>
              <a:gd name="connsiteY57" fmla="*/ 6743280 h 6854824"/>
              <a:gd name="connsiteX58" fmla="*/ 11666869 w 12191999"/>
              <a:gd name="connsiteY58" fmla="*/ 6733095 h 6854824"/>
              <a:gd name="connsiteX59" fmla="*/ 11670302 w 12191999"/>
              <a:gd name="connsiteY59" fmla="*/ 6715096 h 6854824"/>
              <a:gd name="connsiteX60" fmla="*/ 11662544 w 12191999"/>
              <a:gd name="connsiteY60" fmla="*/ 6692967 h 6854824"/>
              <a:gd name="connsiteX61" fmla="*/ 11642564 w 12191999"/>
              <a:gd name="connsiteY61" fmla="*/ 6684958 h 6854824"/>
              <a:gd name="connsiteX62" fmla="*/ 11580836 w 12191999"/>
              <a:gd name="connsiteY62" fmla="*/ 6684958 h 6854824"/>
              <a:gd name="connsiteX63" fmla="*/ 11572158 w 12191999"/>
              <a:gd name="connsiteY63" fmla="*/ 6686158 h 6854824"/>
              <a:gd name="connsiteX64" fmla="*/ 11565767 w 12191999"/>
              <a:gd name="connsiteY64" fmla="*/ 6689088 h 6854824"/>
              <a:gd name="connsiteX65" fmla="*/ 11560828 w 12191999"/>
              <a:gd name="connsiteY65" fmla="*/ 6694697 h 6854824"/>
              <a:gd name="connsiteX66" fmla="*/ 11559014 w 12191999"/>
              <a:gd name="connsiteY66" fmla="*/ 6702036 h 6854824"/>
              <a:gd name="connsiteX67" fmla="*/ 11561219 w 12191999"/>
              <a:gd name="connsiteY67" fmla="*/ 6709989 h 6854824"/>
              <a:gd name="connsiteX68" fmla="*/ 11567693 w 12191999"/>
              <a:gd name="connsiteY68" fmla="*/ 6715626 h 6854824"/>
              <a:gd name="connsiteX69" fmla="*/ 11583013 w 12191999"/>
              <a:gd name="connsiteY69" fmla="*/ 6720454 h 6854824"/>
              <a:gd name="connsiteX70" fmla="*/ 11593282 w 12191999"/>
              <a:gd name="connsiteY70" fmla="*/ 6723858 h 6854824"/>
              <a:gd name="connsiteX71" fmla="*/ 11596240 w 12191999"/>
              <a:gd name="connsiteY71" fmla="*/ 6729216 h 6854824"/>
              <a:gd name="connsiteX72" fmla="*/ 11592891 w 12191999"/>
              <a:gd name="connsiteY72" fmla="*/ 6735829 h 6854824"/>
              <a:gd name="connsiteX73" fmla="*/ 11582622 w 12191999"/>
              <a:gd name="connsiteY73" fmla="*/ 6738648 h 6854824"/>
              <a:gd name="connsiteX74" fmla="*/ 11571935 w 12191999"/>
              <a:gd name="connsiteY74" fmla="*/ 6735467 h 6854824"/>
              <a:gd name="connsiteX75" fmla="*/ 11567274 w 12191999"/>
              <a:gd name="connsiteY75" fmla="*/ 6726314 h 6854824"/>
              <a:gd name="connsiteX76" fmla="*/ 11557340 w 12191999"/>
              <a:gd name="connsiteY76" fmla="*/ 6727876 h 6854824"/>
              <a:gd name="connsiteX77" fmla="*/ 11565070 w 12191999"/>
              <a:gd name="connsiteY77" fmla="*/ 6742108 h 6854824"/>
              <a:gd name="connsiteX78" fmla="*/ 11582678 w 12191999"/>
              <a:gd name="connsiteY78" fmla="*/ 6746908 h 6854824"/>
              <a:gd name="connsiteX79" fmla="*/ 11595180 w 12191999"/>
              <a:gd name="connsiteY79" fmla="*/ 6744480 h 6854824"/>
              <a:gd name="connsiteX80" fmla="*/ 11603635 w 12191999"/>
              <a:gd name="connsiteY80" fmla="*/ 6737615 h 6854824"/>
              <a:gd name="connsiteX81" fmla="*/ 11606565 w 12191999"/>
              <a:gd name="connsiteY81" fmla="*/ 6728155 h 6854824"/>
              <a:gd name="connsiteX82" fmla="*/ 11604165 w 12191999"/>
              <a:gd name="connsiteY82" fmla="*/ 6719561 h 6854824"/>
              <a:gd name="connsiteX83" fmla="*/ 11597552 w 12191999"/>
              <a:gd name="connsiteY83" fmla="*/ 6714286 h 6854824"/>
              <a:gd name="connsiteX84" fmla="*/ 11582678 w 12191999"/>
              <a:gd name="connsiteY84" fmla="*/ 6709626 h 6854824"/>
              <a:gd name="connsiteX85" fmla="*/ 11573804 w 12191999"/>
              <a:gd name="connsiteY85" fmla="*/ 6707059 h 6854824"/>
              <a:gd name="connsiteX86" fmla="*/ 11569953 w 12191999"/>
              <a:gd name="connsiteY86" fmla="*/ 6704380 h 6854824"/>
              <a:gd name="connsiteX87" fmla="*/ 11568725 w 12191999"/>
              <a:gd name="connsiteY87" fmla="*/ 6700864 h 6854824"/>
              <a:gd name="connsiteX88" fmla="*/ 11571683 w 12191999"/>
              <a:gd name="connsiteY88" fmla="*/ 6695506 h 6854824"/>
              <a:gd name="connsiteX89" fmla="*/ 11581562 w 12191999"/>
              <a:gd name="connsiteY89" fmla="*/ 6693218 h 6854824"/>
              <a:gd name="connsiteX90" fmla="*/ 11590631 w 12191999"/>
              <a:gd name="connsiteY90" fmla="*/ 6695785 h 6854824"/>
              <a:gd name="connsiteX91" fmla="*/ 11594510 w 12191999"/>
              <a:gd name="connsiteY91" fmla="*/ 6702929 h 6854824"/>
              <a:gd name="connsiteX92" fmla="*/ 11604333 w 12191999"/>
              <a:gd name="connsiteY92" fmla="*/ 6701590 h 6854824"/>
              <a:gd name="connsiteX93" fmla="*/ 11600872 w 12191999"/>
              <a:gd name="connsiteY93" fmla="*/ 6692409 h 6854824"/>
              <a:gd name="connsiteX94" fmla="*/ 11593087 w 12191999"/>
              <a:gd name="connsiteY94" fmla="*/ 6686967 h 6854824"/>
              <a:gd name="connsiteX95" fmla="*/ 11580836 w 12191999"/>
              <a:gd name="connsiteY95" fmla="*/ 6684958 h 6854824"/>
              <a:gd name="connsiteX96" fmla="*/ 11523407 w 12191999"/>
              <a:gd name="connsiteY96" fmla="*/ 6684958 h 6854824"/>
              <a:gd name="connsiteX97" fmla="*/ 11513529 w 12191999"/>
              <a:gd name="connsiteY97" fmla="*/ 6687218 h 6854824"/>
              <a:gd name="connsiteX98" fmla="*/ 11506217 w 12191999"/>
              <a:gd name="connsiteY98" fmla="*/ 6693999 h 6854824"/>
              <a:gd name="connsiteX99" fmla="*/ 11506217 w 12191999"/>
              <a:gd name="connsiteY99" fmla="*/ 6686297 h 6854824"/>
              <a:gd name="connsiteX100" fmla="*/ 11497064 w 12191999"/>
              <a:gd name="connsiteY100" fmla="*/ 6686297 h 6854824"/>
              <a:gd name="connsiteX101" fmla="*/ 11497064 w 12191999"/>
              <a:gd name="connsiteY101" fmla="*/ 6768283 h 6854824"/>
              <a:gd name="connsiteX102" fmla="*/ 11507110 w 12191999"/>
              <a:gd name="connsiteY102" fmla="*/ 6768283 h 6854824"/>
              <a:gd name="connsiteX103" fmla="*/ 11507110 w 12191999"/>
              <a:gd name="connsiteY103" fmla="*/ 6739429 h 6854824"/>
              <a:gd name="connsiteX104" fmla="*/ 11513668 w 12191999"/>
              <a:gd name="connsiteY104" fmla="*/ 6744787 h 6854824"/>
              <a:gd name="connsiteX105" fmla="*/ 11522681 w 12191999"/>
              <a:gd name="connsiteY105" fmla="*/ 6746908 h 6854824"/>
              <a:gd name="connsiteX106" fmla="*/ 11535769 w 12191999"/>
              <a:gd name="connsiteY106" fmla="*/ 6743029 h 6854824"/>
              <a:gd name="connsiteX107" fmla="*/ 11545257 w 12191999"/>
              <a:gd name="connsiteY107" fmla="*/ 6731867 h 6854824"/>
              <a:gd name="connsiteX108" fmla="*/ 11548522 w 12191999"/>
              <a:gd name="connsiteY108" fmla="*/ 6715486 h 6854824"/>
              <a:gd name="connsiteX109" fmla="*/ 11545564 w 12191999"/>
              <a:gd name="connsiteY109" fmla="*/ 6699887 h 6854824"/>
              <a:gd name="connsiteX110" fmla="*/ 11536802 w 12191999"/>
              <a:gd name="connsiteY110" fmla="*/ 6688865 h 6854824"/>
              <a:gd name="connsiteX111" fmla="*/ 11523407 w 12191999"/>
              <a:gd name="connsiteY111" fmla="*/ 6684958 h 6854824"/>
              <a:gd name="connsiteX112" fmla="*/ 11387081 w 12191999"/>
              <a:gd name="connsiteY112" fmla="*/ 6678447 h 6854824"/>
              <a:gd name="connsiteX113" fmla="*/ 11375277 w 12191999"/>
              <a:gd name="connsiteY113" fmla="*/ 6681210 h 6854824"/>
              <a:gd name="connsiteX114" fmla="*/ 11367324 w 12191999"/>
              <a:gd name="connsiteY114" fmla="*/ 6689414 h 6854824"/>
              <a:gd name="connsiteX115" fmla="*/ 11364533 w 12191999"/>
              <a:gd name="connsiteY115" fmla="*/ 6702222 h 6854824"/>
              <a:gd name="connsiteX116" fmla="*/ 11370672 w 12191999"/>
              <a:gd name="connsiteY116" fmla="*/ 6719858 h 6854824"/>
              <a:gd name="connsiteX117" fmla="*/ 11386634 w 12191999"/>
              <a:gd name="connsiteY117" fmla="*/ 6726221 h 6854824"/>
              <a:gd name="connsiteX118" fmla="*/ 11399833 w 12191999"/>
              <a:gd name="connsiteY118" fmla="*/ 6722063 h 6854824"/>
              <a:gd name="connsiteX119" fmla="*/ 11406949 w 12191999"/>
              <a:gd name="connsiteY119" fmla="*/ 6710929 h 6854824"/>
              <a:gd name="connsiteX120" fmla="*/ 11400085 w 12191999"/>
              <a:gd name="connsiteY120" fmla="*/ 6708920 h 6854824"/>
              <a:gd name="connsiteX121" fmla="*/ 11395062 w 12191999"/>
              <a:gd name="connsiteY121" fmla="*/ 6716789 h 6854824"/>
              <a:gd name="connsiteX122" fmla="*/ 11386244 w 12191999"/>
              <a:gd name="connsiteY122" fmla="*/ 6719691 h 6854824"/>
              <a:gd name="connsiteX123" fmla="*/ 11376058 w 12191999"/>
              <a:gd name="connsiteY123" fmla="*/ 6715310 h 6854824"/>
              <a:gd name="connsiteX124" fmla="*/ 11372123 w 12191999"/>
              <a:gd name="connsiteY124" fmla="*/ 6702390 h 6854824"/>
              <a:gd name="connsiteX125" fmla="*/ 11376281 w 12191999"/>
              <a:gd name="connsiteY125" fmla="*/ 6689274 h 6854824"/>
              <a:gd name="connsiteX126" fmla="*/ 11386857 w 12191999"/>
              <a:gd name="connsiteY126" fmla="*/ 6684698 h 6854824"/>
              <a:gd name="connsiteX127" fmla="*/ 11394531 w 12191999"/>
              <a:gd name="connsiteY127" fmla="*/ 6686902 h 6854824"/>
              <a:gd name="connsiteX128" fmla="*/ 11399471 w 12191999"/>
              <a:gd name="connsiteY128" fmla="*/ 6693237 h 6854824"/>
              <a:gd name="connsiteX129" fmla="*/ 11406112 w 12191999"/>
              <a:gd name="connsiteY129" fmla="*/ 6691618 h 6854824"/>
              <a:gd name="connsiteX130" fmla="*/ 11399415 w 12191999"/>
              <a:gd name="connsiteY130" fmla="*/ 6681991 h 6854824"/>
              <a:gd name="connsiteX131" fmla="*/ 11387081 w 12191999"/>
              <a:gd name="connsiteY131" fmla="*/ 6678447 h 6854824"/>
              <a:gd name="connsiteX132" fmla="*/ 11386578 w 12191999"/>
              <a:gd name="connsiteY132" fmla="*/ 6669331 h 6854824"/>
              <a:gd name="connsiteX133" fmla="*/ 11403824 w 12191999"/>
              <a:gd name="connsiteY133" fmla="*/ 6673880 h 6854824"/>
              <a:gd name="connsiteX134" fmla="*/ 11416967 w 12191999"/>
              <a:gd name="connsiteY134" fmla="*/ 6686883 h 6854824"/>
              <a:gd name="connsiteX135" fmla="*/ 11421683 w 12191999"/>
              <a:gd name="connsiteY135" fmla="*/ 6704492 h 6854824"/>
              <a:gd name="connsiteX136" fmla="*/ 11417051 w 12191999"/>
              <a:gd name="connsiteY136" fmla="*/ 6721932 h 6854824"/>
              <a:gd name="connsiteX137" fmla="*/ 11404047 w 12191999"/>
              <a:gd name="connsiteY137" fmla="*/ 6734936 h 6854824"/>
              <a:gd name="connsiteX138" fmla="*/ 11386578 w 12191999"/>
              <a:gd name="connsiteY138" fmla="*/ 6739597 h 6854824"/>
              <a:gd name="connsiteX139" fmla="*/ 11369110 w 12191999"/>
              <a:gd name="connsiteY139" fmla="*/ 6734936 h 6854824"/>
              <a:gd name="connsiteX140" fmla="*/ 11356078 w 12191999"/>
              <a:gd name="connsiteY140" fmla="*/ 6721932 h 6854824"/>
              <a:gd name="connsiteX141" fmla="*/ 11351418 w 12191999"/>
              <a:gd name="connsiteY141" fmla="*/ 6704492 h 6854824"/>
              <a:gd name="connsiteX142" fmla="*/ 11356162 w 12191999"/>
              <a:gd name="connsiteY142" fmla="*/ 6686883 h 6854824"/>
              <a:gd name="connsiteX143" fmla="*/ 11369305 w 12191999"/>
              <a:gd name="connsiteY143" fmla="*/ 6673880 h 6854824"/>
              <a:gd name="connsiteX144" fmla="*/ 11386578 w 12191999"/>
              <a:gd name="connsiteY144" fmla="*/ 6669331 h 6854824"/>
              <a:gd name="connsiteX145" fmla="*/ 11469234 w 12191999"/>
              <a:gd name="connsiteY145" fmla="*/ 6663750 h 6854824"/>
              <a:gd name="connsiteX146" fmla="*/ 11469234 w 12191999"/>
              <a:gd name="connsiteY146" fmla="*/ 6745568 h 6854824"/>
              <a:gd name="connsiteX147" fmla="*/ 11480061 w 12191999"/>
              <a:gd name="connsiteY147" fmla="*/ 6745568 h 6854824"/>
              <a:gd name="connsiteX148" fmla="*/ 11480061 w 12191999"/>
              <a:gd name="connsiteY148" fmla="*/ 6663750 h 6854824"/>
              <a:gd name="connsiteX149" fmla="*/ 11386578 w 12191999"/>
              <a:gd name="connsiteY149" fmla="*/ 6662355 h 6854824"/>
              <a:gd name="connsiteX150" fmla="*/ 11365873 w 12191999"/>
              <a:gd name="connsiteY150" fmla="*/ 6667796 h 6854824"/>
              <a:gd name="connsiteX151" fmla="*/ 11350106 w 12191999"/>
              <a:gd name="connsiteY151" fmla="*/ 6683367 h 6854824"/>
              <a:gd name="connsiteX152" fmla="*/ 11344441 w 12191999"/>
              <a:gd name="connsiteY152" fmla="*/ 6704492 h 6854824"/>
              <a:gd name="connsiteX153" fmla="*/ 11350022 w 12191999"/>
              <a:gd name="connsiteY153" fmla="*/ 6725421 h 6854824"/>
              <a:gd name="connsiteX154" fmla="*/ 11365622 w 12191999"/>
              <a:gd name="connsiteY154" fmla="*/ 6741020 h 6854824"/>
              <a:gd name="connsiteX155" fmla="*/ 11386578 w 12191999"/>
              <a:gd name="connsiteY155" fmla="*/ 6746573 h 6854824"/>
              <a:gd name="connsiteX156" fmla="*/ 11407535 w 12191999"/>
              <a:gd name="connsiteY156" fmla="*/ 6741020 h 6854824"/>
              <a:gd name="connsiteX157" fmla="*/ 11423106 w 12191999"/>
              <a:gd name="connsiteY157" fmla="*/ 6725421 h 6854824"/>
              <a:gd name="connsiteX158" fmla="*/ 11428660 w 12191999"/>
              <a:gd name="connsiteY158" fmla="*/ 6704492 h 6854824"/>
              <a:gd name="connsiteX159" fmla="*/ 11423023 w 12191999"/>
              <a:gd name="connsiteY159" fmla="*/ 6683367 h 6854824"/>
              <a:gd name="connsiteX160" fmla="*/ 11407284 w 12191999"/>
              <a:gd name="connsiteY160" fmla="*/ 6667796 h 6854824"/>
              <a:gd name="connsiteX161" fmla="*/ 11386578 w 12191999"/>
              <a:gd name="connsiteY161" fmla="*/ 6662355 h 6854824"/>
              <a:gd name="connsiteX162" fmla="*/ 818352 w 12191999"/>
              <a:gd name="connsiteY162" fmla="*/ 6201649 h 6854824"/>
              <a:gd name="connsiteX163" fmla="*/ 818352 w 12191999"/>
              <a:gd name="connsiteY163" fmla="*/ 6597649 h 6854824"/>
              <a:gd name="connsiteX164" fmla="*/ 824702 w 12191999"/>
              <a:gd name="connsiteY164" fmla="*/ 6597649 h 6854824"/>
              <a:gd name="connsiteX165" fmla="*/ 824702 w 12191999"/>
              <a:gd name="connsiteY165" fmla="*/ 6201649 h 6854824"/>
              <a:gd name="connsiteX166" fmla="*/ 11344275 w 12191999"/>
              <a:gd name="connsiteY166" fmla="*/ 6196639 h 6854824"/>
              <a:gd name="connsiteX167" fmla="*/ 11344275 w 12191999"/>
              <a:gd name="connsiteY167" fmla="*/ 6534644 h 6854824"/>
              <a:gd name="connsiteX168" fmla="*/ 11344275 w 12191999"/>
              <a:gd name="connsiteY168" fmla="*/ 6605968 h 6854824"/>
              <a:gd name="connsiteX169" fmla="*/ 11737507 w 12191999"/>
              <a:gd name="connsiteY169" fmla="*/ 6605968 h 6854824"/>
              <a:gd name="connsiteX170" fmla="*/ 11755855 w 12191999"/>
              <a:gd name="connsiteY170" fmla="*/ 6553660 h 6854824"/>
              <a:gd name="connsiteX171" fmla="*/ 11780876 w 12191999"/>
              <a:gd name="connsiteY171" fmla="*/ 6196639 h 6854824"/>
              <a:gd name="connsiteX172" fmla="*/ 11344275 w 12191999"/>
              <a:gd name="connsiteY172" fmla="*/ 6196639 h 6854824"/>
              <a:gd name="connsiteX173" fmla="*/ 0 w 12191999"/>
              <a:gd name="connsiteY173" fmla="*/ 0 h 6854824"/>
              <a:gd name="connsiteX174" fmla="*/ 12191999 w 12191999"/>
              <a:gd name="connsiteY174" fmla="*/ 0 h 6854824"/>
              <a:gd name="connsiteX175" fmla="*/ 12191999 w 12191999"/>
              <a:gd name="connsiteY175" fmla="*/ 6854824 h 6854824"/>
              <a:gd name="connsiteX176" fmla="*/ 0 w 12191999"/>
              <a:gd name="connsiteY176" fmla="*/ 685482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2191999" h="6854824">
                <a:moveTo>
                  <a:pt x="11642564" y="6693274"/>
                </a:moveTo>
                <a:cubicBezTo>
                  <a:pt x="11647512" y="6693274"/>
                  <a:pt x="11651652" y="6695162"/>
                  <a:pt x="11654982" y="6698939"/>
                </a:cubicBezTo>
                <a:cubicBezTo>
                  <a:pt x="11658312" y="6702715"/>
                  <a:pt x="11659977" y="6708268"/>
                  <a:pt x="11659977" y="6715598"/>
                </a:cubicBezTo>
                <a:cubicBezTo>
                  <a:pt x="11659977" y="6723374"/>
                  <a:pt x="11658321" y="6729160"/>
                  <a:pt x="11655010" y="6732955"/>
                </a:cubicBezTo>
                <a:cubicBezTo>
                  <a:pt x="11651698" y="6736750"/>
                  <a:pt x="11647549" y="6738648"/>
                  <a:pt x="11642564" y="6738648"/>
                </a:cubicBezTo>
                <a:cubicBezTo>
                  <a:pt x="11637541" y="6738648"/>
                  <a:pt x="11633374" y="6736759"/>
                  <a:pt x="11630062" y="6732983"/>
                </a:cubicBezTo>
                <a:cubicBezTo>
                  <a:pt x="11626751" y="6729206"/>
                  <a:pt x="11625095" y="6723523"/>
                  <a:pt x="11625095" y="6715933"/>
                </a:cubicBezTo>
                <a:cubicBezTo>
                  <a:pt x="11625095" y="6708343"/>
                  <a:pt x="11626751" y="6702669"/>
                  <a:pt x="11630062" y="6698911"/>
                </a:cubicBezTo>
                <a:cubicBezTo>
                  <a:pt x="11633374" y="6695153"/>
                  <a:pt x="11637541" y="6693274"/>
                  <a:pt x="11642564" y="6693274"/>
                </a:cubicBezTo>
                <a:close/>
                <a:moveTo>
                  <a:pt x="11522458" y="6692827"/>
                </a:moveTo>
                <a:cubicBezTo>
                  <a:pt x="11526774" y="6692827"/>
                  <a:pt x="11530486" y="6694706"/>
                  <a:pt x="11533592" y="6698464"/>
                </a:cubicBezTo>
                <a:cubicBezTo>
                  <a:pt x="11536699" y="6702222"/>
                  <a:pt x="11538253" y="6707878"/>
                  <a:pt x="11538253" y="6715431"/>
                </a:cubicBezTo>
                <a:cubicBezTo>
                  <a:pt x="11538253" y="6723356"/>
                  <a:pt x="11536662" y="6729206"/>
                  <a:pt x="11533481" y="6732983"/>
                </a:cubicBezTo>
                <a:cubicBezTo>
                  <a:pt x="11530300" y="6736759"/>
                  <a:pt x="11526477" y="6738648"/>
                  <a:pt x="11522012" y="6738648"/>
                </a:cubicBezTo>
                <a:cubicBezTo>
                  <a:pt x="11517621" y="6738648"/>
                  <a:pt x="11513882" y="6736825"/>
                  <a:pt x="11510794" y="6733178"/>
                </a:cubicBezTo>
                <a:cubicBezTo>
                  <a:pt x="11507706" y="6729532"/>
                  <a:pt x="11506162" y="6723895"/>
                  <a:pt x="11506162" y="6716268"/>
                </a:cubicBezTo>
                <a:cubicBezTo>
                  <a:pt x="11506162" y="6708640"/>
                  <a:pt x="11507808" y="6702827"/>
                  <a:pt x="11511101" y="6698827"/>
                </a:cubicBezTo>
                <a:cubicBezTo>
                  <a:pt x="11514394" y="6694827"/>
                  <a:pt x="11518179" y="6692827"/>
                  <a:pt x="11522458" y="6692827"/>
                </a:cubicBezTo>
                <a:close/>
                <a:moveTo>
                  <a:pt x="11704662" y="6684958"/>
                </a:moveTo>
                <a:cubicBezTo>
                  <a:pt x="11701574" y="6684958"/>
                  <a:pt x="11698681" y="6685358"/>
                  <a:pt x="11695984" y="6686158"/>
                </a:cubicBezTo>
                <a:cubicBezTo>
                  <a:pt x="11693286" y="6686958"/>
                  <a:pt x="11691156" y="6687935"/>
                  <a:pt x="11689593" y="6689088"/>
                </a:cubicBezTo>
                <a:cubicBezTo>
                  <a:pt x="11687510" y="6690576"/>
                  <a:pt x="11685863" y="6692446"/>
                  <a:pt x="11684654" y="6694697"/>
                </a:cubicBezTo>
                <a:cubicBezTo>
                  <a:pt x="11683445" y="6696948"/>
                  <a:pt x="11682840" y="6699394"/>
                  <a:pt x="11682840" y="6702036"/>
                </a:cubicBezTo>
                <a:cubicBezTo>
                  <a:pt x="11682840" y="6704938"/>
                  <a:pt x="11683575" y="6707589"/>
                  <a:pt x="11685045" y="6709989"/>
                </a:cubicBezTo>
                <a:cubicBezTo>
                  <a:pt x="11686515" y="6712389"/>
                  <a:pt x="11688673" y="6714268"/>
                  <a:pt x="11691519" y="6715626"/>
                </a:cubicBezTo>
                <a:cubicBezTo>
                  <a:pt x="11694365" y="6716984"/>
                  <a:pt x="11699472" y="6718593"/>
                  <a:pt x="11706839" y="6720454"/>
                </a:cubicBezTo>
                <a:cubicBezTo>
                  <a:pt x="11712308" y="6721830"/>
                  <a:pt x="11715731" y="6722965"/>
                  <a:pt x="11717108" y="6723858"/>
                </a:cubicBezTo>
                <a:cubicBezTo>
                  <a:pt x="11719080" y="6725160"/>
                  <a:pt x="11720066" y="6726946"/>
                  <a:pt x="11720066" y="6729216"/>
                </a:cubicBezTo>
                <a:cubicBezTo>
                  <a:pt x="11720066" y="6731746"/>
                  <a:pt x="11718950" y="6733950"/>
                  <a:pt x="11716717" y="6735829"/>
                </a:cubicBezTo>
                <a:cubicBezTo>
                  <a:pt x="11714485" y="6737708"/>
                  <a:pt x="11711062" y="6738648"/>
                  <a:pt x="11706448" y="6738648"/>
                </a:cubicBezTo>
                <a:cubicBezTo>
                  <a:pt x="11701872" y="6738648"/>
                  <a:pt x="11698309" y="6737587"/>
                  <a:pt x="11695761" y="6735467"/>
                </a:cubicBezTo>
                <a:cubicBezTo>
                  <a:pt x="11693212" y="6733346"/>
                  <a:pt x="11691658" y="6730295"/>
                  <a:pt x="11691100" y="6726314"/>
                </a:cubicBezTo>
                <a:lnTo>
                  <a:pt x="11681166" y="6727876"/>
                </a:lnTo>
                <a:cubicBezTo>
                  <a:pt x="11682282" y="6734164"/>
                  <a:pt x="11684859" y="6738908"/>
                  <a:pt x="11688896" y="6742108"/>
                </a:cubicBezTo>
                <a:cubicBezTo>
                  <a:pt x="11692933" y="6745308"/>
                  <a:pt x="11698802" y="6746908"/>
                  <a:pt x="11706504" y="6746908"/>
                </a:cubicBezTo>
                <a:cubicBezTo>
                  <a:pt x="11711155" y="6746908"/>
                  <a:pt x="11715322" y="6746098"/>
                  <a:pt x="11719006" y="6744480"/>
                </a:cubicBezTo>
                <a:cubicBezTo>
                  <a:pt x="11722689" y="6742861"/>
                  <a:pt x="11725508" y="6740573"/>
                  <a:pt x="11727461" y="6737615"/>
                </a:cubicBezTo>
                <a:cubicBezTo>
                  <a:pt x="11729414" y="6734657"/>
                  <a:pt x="11730391" y="6731504"/>
                  <a:pt x="11730391" y="6728155"/>
                </a:cubicBezTo>
                <a:cubicBezTo>
                  <a:pt x="11730391" y="6724732"/>
                  <a:pt x="11729591" y="6721867"/>
                  <a:pt x="11727991" y="6719561"/>
                </a:cubicBezTo>
                <a:cubicBezTo>
                  <a:pt x="11726391" y="6717254"/>
                  <a:pt x="11724187" y="6715496"/>
                  <a:pt x="11721378" y="6714286"/>
                </a:cubicBezTo>
                <a:cubicBezTo>
                  <a:pt x="11718568" y="6713077"/>
                  <a:pt x="11713611" y="6711524"/>
                  <a:pt x="11706504" y="6709626"/>
                </a:cubicBezTo>
                <a:cubicBezTo>
                  <a:pt x="11701593" y="6708287"/>
                  <a:pt x="11698635" y="6707431"/>
                  <a:pt x="11697630" y="6707059"/>
                </a:cubicBezTo>
                <a:cubicBezTo>
                  <a:pt x="11695881" y="6706352"/>
                  <a:pt x="11694598" y="6705459"/>
                  <a:pt x="11693779" y="6704380"/>
                </a:cubicBezTo>
                <a:cubicBezTo>
                  <a:pt x="11692961" y="6703338"/>
                  <a:pt x="11692551" y="6702166"/>
                  <a:pt x="11692551" y="6700864"/>
                </a:cubicBezTo>
                <a:cubicBezTo>
                  <a:pt x="11692551" y="6698818"/>
                  <a:pt x="11693537" y="6697032"/>
                  <a:pt x="11695509" y="6695506"/>
                </a:cubicBezTo>
                <a:cubicBezTo>
                  <a:pt x="11697481" y="6693981"/>
                  <a:pt x="11700774" y="6693218"/>
                  <a:pt x="11705388" y="6693218"/>
                </a:cubicBezTo>
                <a:cubicBezTo>
                  <a:pt x="11709295" y="6693218"/>
                  <a:pt x="11712318" y="6694074"/>
                  <a:pt x="11714457" y="6695785"/>
                </a:cubicBezTo>
                <a:cubicBezTo>
                  <a:pt x="11716596" y="6697497"/>
                  <a:pt x="11717889" y="6699878"/>
                  <a:pt x="11718336" y="6702929"/>
                </a:cubicBezTo>
                <a:lnTo>
                  <a:pt x="11728159" y="6701590"/>
                </a:lnTo>
                <a:cubicBezTo>
                  <a:pt x="11727526" y="6697757"/>
                  <a:pt x="11726373" y="6694697"/>
                  <a:pt x="11724698" y="6692409"/>
                </a:cubicBezTo>
                <a:cubicBezTo>
                  <a:pt x="11723024" y="6690120"/>
                  <a:pt x="11720429" y="6688307"/>
                  <a:pt x="11716913" y="6686967"/>
                </a:cubicBezTo>
                <a:cubicBezTo>
                  <a:pt x="11713397" y="6685628"/>
                  <a:pt x="11709313" y="6684958"/>
                  <a:pt x="11704662" y="6684958"/>
                </a:cubicBezTo>
                <a:close/>
                <a:moveTo>
                  <a:pt x="11642564" y="6684958"/>
                </a:moveTo>
                <a:cubicBezTo>
                  <a:pt x="11635234" y="6684958"/>
                  <a:pt x="11629020" y="6687153"/>
                  <a:pt x="11623923" y="6691544"/>
                </a:cubicBezTo>
                <a:cubicBezTo>
                  <a:pt x="11617821" y="6696827"/>
                  <a:pt x="11614770" y="6704957"/>
                  <a:pt x="11614770" y="6715933"/>
                </a:cubicBezTo>
                <a:cubicBezTo>
                  <a:pt x="11614770" y="6725942"/>
                  <a:pt x="11617328" y="6733606"/>
                  <a:pt x="11622444" y="6738927"/>
                </a:cubicBezTo>
                <a:cubicBezTo>
                  <a:pt x="11627560" y="6744247"/>
                  <a:pt x="11634267" y="6746908"/>
                  <a:pt x="11642564" y="6746908"/>
                </a:cubicBezTo>
                <a:cubicBezTo>
                  <a:pt x="11647736" y="6746908"/>
                  <a:pt x="11652507" y="6745698"/>
                  <a:pt x="11656879" y="6743280"/>
                </a:cubicBezTo>
                <a:cubicBezTo>
                  <a:pt x="11661251" y="6740862"/>
                  <a:pt x="11664581" y="6737466"/>
                  <a:pt x="11666869" y="6733095"/>
                </a:cubicBezTo>
                <a:cubicBezTo>
                  <a:pt x="11669157" y="6728723"/>
                  <a:pt x="11670302" y="6722723"/>
                  <a:pt x="11670302" y="6715096"/>
                </a:cubicBezTo>
                <a:cubicBezTo>
                  <a:pt x="11670302" y="6705682"/>
                  <a:pt x="11667716" y="6698306"/>
                  <a:pt x="11662544" y="6692967"/>
                </a:cubicBezTo>
                <a:cubicBezTo>
                  <a:pt x="11657372" y="6687628"/>
                  <a:pt x="11650712" y="6684958"/>
                  <a:pt x="11642564" y="6684958"/>
                </a:cubicBezTo>
                <a:close/>
                <a:moveTo>
                  <a:pt x="11580836" y="6684958"/>
                </a:moveTo>
                <a:cubicBezTo>
                  <a:pt x="11577748" y="6684958"/>
                  <a:pt x="11574855" y="6685358"/>
                  <a:pt x="11572158" y="6686158"/>
                </a:cubicBezTo>
                <a:cubicBezTo>
                  <a:pt x="11569460" y="6686958"/>
                  <a:pt x="11567330" y="6687935"/>
                  <a:pt x="11565767" y="6689088"/>
                </a:cubicBezTo>
                <a:cubicBezTo>
                  <a:pt x="11563684" y="6690576"/>
                  <a:pt x="11562037" y="6692446"/>
                  <a:pt x="11560828" y="6694697"/>
                </a:cubicBezTo>
                <a:cubicBezTo>
                  <a:pt x="11559619" y="6696948"/>
                  <a:pt x="11559014" y="6699394"/>
                  <a:pt x="11559014" y="6702036"/>
                </a:cubicBezTo>
                <a:cubicBezTo>
                  <a:pt x="11559014" y="6704938"/>
                  <a:pt x="11559749" y="6707589"/>
                  <a:pt x="11561219" y="6709989"/>
                </a:cubicBezTo>
                <a:cubicBezTo>
                  <a:pt x="11562689" y="6712389"/>
                  <a:pt x="11564847" y="6714268"/>
                  <a:pt x="11567693" y="6715626"/>
                </a:cubicBezTo>
                <a:cubicBezTo>
                  <a:pt x="11570539" y="6716984"/>
                  <a:pt x="11575646" y="6718593"/>
                  <a:pt x="11583013" y="6720454"/>
                </a:cubicBezTo>
                <a:cubicBezTo>
                  <a:pt x="11588482" y="6721830"/>
                  <a:pt x="11591905" y="6722965"/>
                  <a:pt x="11593282" y="6723858"/>
                </a:cubicBezTo>
                <a:cubicBezTo>
                  <a:pt x="11595254" y="6725160"/>
                  <a:pt x="11596240" y="6726946"/>
                  <a:pt x="11596240" y="6729216"/>
                </a:cubicBezTo>
                <a:cubicBezTo>
                  <a:pt x="11596240" y="6731746"/>
                  <a:pt x="11595124" y="6733950"/>
                  <a:pt x="11592891" y="6735829"/>
                </a:cubicBezTo>
                <a:cubicBezTo>
                  <a:pt x="11590659" y="6737708"/>
                  <a:pt x="11587236" y="6738648"/>
                  <a:pt x="11582622" y="6738648"/>
                </a:cubicBezTo>
                <a:cubicBezTo>
                  <a:pt x="11578046" y="6738648"/>
                  <a:pt x="11574483" y="6737587"/>
                  <a:pt x="11571935" y="6735467"/>
                </a:cubicBezTo>
                <a:cubicBezTo>
                  <a:pt x="11569386" y="6733346"/>
                  <a:pt x="11567832" y="6730295"/>
                  <a:pt x="11567274" y="6726314"/>
                </a:cubicBezTo>
                <a:lnTo>
                  <a:pt x="11557340" y="6727876"/>
                </a:lnTo>
                <a:cubicBezTo>
                  <a:pt x="11558456" y="6734164"/>
                  <a:pt x="11561033" y="6738908"/>
                  <a:pt x="11565070" y="6742108"/>
                </a:cubicBezTo>
                <a:cubicBezTo>
                  <a:pt x="11569107" y="6745308"/>
                  <a:pt x="11574976" y="6746908"/>
                  <a:pt x="11582678" y="6746908"/>
                </a:cubicBezTo>
                <a:cubicBezTo>
                  <a:pt x="11587329" y="6746908"/>
                  <a:pt x="11591496" y="6746098"/>
                  <a:pt x="11595180" y="6744480"/>
                </a:cubicBezTo>
                <a:cubicBezTo>
                  <a:pt x="11598863" y="6742861"/>
                  <a:pt x="11601682" y="6740573"/>
                  <a:pt x="11603635" y="6737615"/>
                </a:cubicBezTo>
                <a:cubicBezTo>
                  <a:pt x="11605588" y="6734657"/>
                  <a:pt x="11606565" y="6731504"/>
                  <a:pt x="11606565" y="6728155"/>
                </a:cubicBezTo>
                <a:cubicBezTo>
                  <a:pt x="11606565" y="6724732"/>
                  <a:pt x="11605765" y="6721867"/>
                  <a:pt x="11604165" y="6719561"/>
                </a:cubicBezTo>
                <a:cubicBezTo>
                  <a:pt x="11602565" y="6717254"/>
                  <a:pt x="11600361" y="6715496"/>
                  <a:pt x="11597552" y="6714286"/>
                </a:cubicBezTo>
                <a:cubicBezTo>
                  <a:pt x="11594742" y="6713077"/>
                  <a:pt x="11589785" y="6711524"/>
                  <a:pt x="11582678" y="6709626"/>
                </a:cubicBezTo>
                <a:cubicBezTo>
                  <a:pt x="11577767" y="6708287"/>
                  <a:pt x="11574809" y="6707431"/>
                  <a:pt x="11573804" y="6707059"/>
                </a:cubicBezTo>
                <a:cubicBezTo>
                  <a:pt x="11572055" y="6706352"/>
                  <a:pt x="11570772" y="6705459"/>
                  <a:pt x="11569953" y="6704380"/>
                </a:cubicBezTo>
                <a:cubicBezTo>
                  <a:pt x="11569135" y="6703338"/>
                  <a:pt x="11568725" y="6702166"/>
                  <a:pt x="11568725" y="6700864"/>
                </a:cubicBezTo>
                <a:cubicBezTo>
                  <a:pt x="11568725" y="6698818"/>
                  <a:pt x="11569711" y="6697032"/>
                  <a:pt x="11571683" y="6695506"/>
                </a:cubicBezTo>
                <a:cubicBezTo>
                  <a:pt x="11573655" y="6693981"/>
                  <a:pt x="11576948" y="6693218"/>
                  <a:pt x="11581562" y="6693218"/>
                </a:cubicBezTo>
                <a:cubicBezTo>
                  <a:pt x="11585469" y="6693218"/>
                  <a:pt x="11588492" y="6694074"/>
                  <a:pt x="11590631" y="6695785"/>
                </a:cubicBezTo>
                <a:cubicBezTo>
                  <a:pt x="11592770" y="6697497"/>
                  <a:pt x="11594063" y="6699878"/>
                  <a:pt x="11594510" y="6702929"/>
                </a:cubicBezTo>
                <a:lnTo>
                  <a:pt x="11604333" y="6701590"/>
                </a:lnTo>
                <a:cubicBezTo>
                  <a:pt x="11603700" y="6697757"/>
                  <a:pt x="11602547" y="6694697"/>
                  <a:pt x="11600872" y="6692409"/>
                </a:cubicBezTo>
                <a:cubicBezTo>
                  <a:pt x="11599198" y="6690120"/>
                  <a:pt x="11596603" y="6688307"/>
                  <a:pt x="11593087" y="6686967"/>
                </a:cubicBezTo>
                <a:cubicBezTo>
                  <a:pt x="11589571" y="6685628"/>
                  <a:pt x="11585487" y="6684958"/>
                  <a:pt x="11580836" y="6684958"/>
                </a:cubicBezTo>
                <a:close/>
                <a:moveTo>
                  <a:pt x="11523407" y="6684958"/>
                </a:moveTo>
                <a:cubicBezTo>
                  <a:pt x="11519537" y="6684958"/>
                  <a:pt x="11516245" y="6685711"/>
                  <a:pt x="11513529" y="6687218"/>
                </a:cubicBezTo>
                <a:cubicBezTo>
                  <a:pt x="11510812" y="6688725"/>
                  <a:pt x="11508375" y="6690986"/>
                  <a:pt x="11506217" y="6693999"/>
                </a:cubicBezTo>
                <a:lnTo>
                  <a:pt x="11506217" y="6686297"/>
                </a:lnTo>
                <a:lnTo>
                  <a:pt x="11497064" y="6686297"/>
                </a:lnTo>
                <a:lnTo>
                  <a:pt x="11497064" y="6768283"/>
                </a:lnTo>
                <a:lnTo>
                  <a:pt x="11507110" y="6768283"/>
                </a:lnTo>
                <a:lnTo>
                  <a:pt x="11507110" y="6739429"/>
                </a:lnTo>
                <a:cubicBezTo>
                  <a:pt x="11508822" y="6741587"/>
                  <a:pt x="11511008" y="6743373"/>
                  <a:pt x="11513668" y="6744787"/>
                </a:cubicBezTo>
                <a:cubicBezTo>
                  <a:pt x="11516328" y="6746201"/>
                  <a:pt x="11519333" y="6746908"/>
                  <a:pt x="11522681" y="6746908"/>
                </a:cubicBezTo>
                <a:cubicBezTo>
                  <a:pt x="11527258" y="6746908"/>
                  <a:pt x="11531620" y="6745615"/>
                  <a:pt x="11535769" y="6743029"/>
                </a:cubicBezTo>
                <a:cubicBezTo>
                  <a:pt x="11539918" y="6740443"/>
                  <a:pt x="11543080" y="6736722"/>
                  <a:pt x="11545257" y="6731867"/>
                </a:cubicBezTo>
                <a:cubicBezTo>
                  <a:pt x="11547433" y="6727011"/>
                  <a:pt x="11548522" y="6721551"/>
                  <a:pt x="11548522" y="6715486"/>
                </a:cubicBezTo>
                <a:cubicBezTo>
                  <a:pt x="11548522" y="6709831"/>
                  <a:pt x="11547536" y="6704631"/>
                  <a:pt x="11545564" y="6699887"/>
                </a:cubicBezTo>
                <a:cubicBezTo>
                  <a:pt x="11543592" y="6695143"/>
                  <a:pt x="11540671" y="6691469"/>
                  <a:pt x="11536802" y="6688865"/>
                </a:cubicBezTo>
                <a:cubicBezTo>
                  <a:pt x="11532932" y="6686260"/>
                  <a:pt x="11528467" y="6684958"/>
                  <a:pt x="11523407" y="6684958"/>
                </a:cubicBezTo>
                <a:close/>
                <a:moveTo>
                  <a:pt x="11387081" y="6678447"/>
                </a:moveTo>
                <a:cubicBezTo>
                  <a:pt x="11382653" y="6678447"/>
                  <a:pt x="11378718" y="6679368"/>
                  <a:pt x="11375277" y="6681210"/>
                </a:cubicBezTo>
                <a:cubicBezTo>
                  <a:pt x="11371835" y="6683051"/>
                  <a:pt x="11369184" y="6685786"/>
                  <a:pt x="11367324" y="6689414"/>
                </a:cubicBezTo>
                <a:cubicBezTo>
                  <a:pt x="11365463" y="6693041"/>
                  <a:pt x="11364533" y="6697311"/>
                  <a:pt x="11364533" y="6702222"/>
                </a:cubicBezTo>
                <a:cubicBezTo>
                  <a:pt x="11364533" y="6709738"/>
                  <a:pt x="11366580" y="6715617"/>
                  <a:pt x="11370672" y="6719858"/>
                </a:cubicBezTo>
                <a:cubicBezTo>
                  <a:pt x="11374765" y="6724100"/>
                  <a:pt x="11380086" y="6726221"/>
                  <a:pt x="11386634" y="6726221"/>
                </a:cubicBezTo>
                <a:cubicBezTo>
                  <a:pt x="11391806" y="6726221"/>
                  <a:pt x="11396206" y="6724835"/>
                  <a:pt x="11399833" y="6722063"/>
                </a:cubicBezTo>
                <a:cubicBezTo>
                  <a:pt x="11403461" y="6719291"/>
                  <a:pt x="11405833" y="6715580"/>
                  <a:pt x="11406949" y="6710929"/>
                </a:cubicBezTo>
                <a:lnTo>
                  <a:pt x="11400085" y="6708920"/>
                </a:lnTo>
                <a:cubicBezTo>
                  <a:pt x="11399266" y="6712231"/>
                  <a:pt x="11397592" y="6714854"/>
                  <a:pt x="11395062" y="6716789"/>
                </a:cubicBezTo>
                <a:cubicBezTo>
                  <a:pt x="11392532" y="6718724"/>
                  <a:pt x="11389592" y="6719691"/>
                  <a:pt x="11386244" y="6719691"/>
                </a:cubicBezTo>
                <a:cubicBezTo>
                  <a:pt x="11382076" y="6719691"/>
                  <a:pt x="11378681" y="6718231"/>
                  <a:pt x="11376058" y="6715310"/>
                </a:cubicBezTo>
                <a:cubicBezTo>
                  <a:pt x="11373435" y="6712389"/>
                  <a:pt x="11372123" y="6708082"/>
                  <a:pt x="11372123" y="6702390"/>
                </a:cubicBezTo>
                <a:cubicBezTo>
                  <a:pt x="11372123" y="6696697"/>
                  <a:pt x="11373509" y="6692325"/>
                  <a:pt x="11376281" y="6689274"/>
                </a:cubicBezTo>
                <a:cubicBezTo>
                  <a:pt x="11379053" y="6686223"/>
                  <a:pt x="11382579" y="6684698"/>
                  <a:pt x="11386857" y="6684698"/>
                </a:cubicBezTo>
                <a:cubicBezTo>
                  <a:pt x="11389797" y="6684698"/>
                  <a:pt x="11392355" y="6685433"/>
                  <a:pt x="11394531" y="6686902"/>
                </a:cubicBezTo>
                <a:cubicBezTo>
                  <a:pt x="11396708" y="6688372"/>
                  <a:pt x="11398354" y="6690483"/>
                  <a:pt x="11399471" y="6693237"/>
                </a:cubicBezTo>
                <a:lnTo>
                  <a:pt x="11406112" y="6691618"/>
                </a:lnTo>
                <a:cubicBezTo>
                  <a:pt x="11404921" y="6687563"/>
                  <a:pt x="11402689" y="6684354"/>
                  <a:pt x="11399415" y="6681991"/>
                </a:cubicBezTo>
                <a:cubicBezTo>
                  <a:pt x="11396141" y="6679628"/>
                  <a:pt x="11392029" y="6678447"/>
                  <a:pt x="11387081" y="6678447"/>
                </a:cubicBezTo>
                <a:close/>
                <a:moveTo>
                  <a:pt x="11386578" y="6669331"/>
                </a:moveTo>
                <a:cubicBezTo>
                  <a:pt x="11392457" y="6669331"/>
                  <a:pt x="11398206" y="6670847"/>
                  <a:pt x="11403824" y="6673880"/>
                </a:cubicBezTo>
                <a:cubicBezTo>
                  <a:pt x="11409442" y="6676912"/>
                  <a:pt x="11413823" y="6681247"/>
                  <a:pt x="11416967" y="6686883"/>
                </a:cubicBezTo>
                <a:cubicBezTo>
                  <a:pt x="11420111" y="6692520"/>
                  <a:pt x="11421683" y="6698390"/>
                  <a:pt x="11421683" y="6704492"/>
                </a:cubicBezTo>
                <a:cubicBezTo>
                  <a:pt x="11421683" y="6710556"/>
                  <a:pt x="11420139" y="6716370"/>
                  <a:pt x="11417051" y="6721932"/>
                </a:cubicBezTo>
                <a:cubicBezTo>
                  <a:pt x="11413963" y="6727495"/>
                  <a:pt x="11409628" y="6731830"/>
                  <a:pt x="11404047" y="6734936"/>
                </a:cubicBezTo>
                <a:cubicBezTo>
                  <a:pt x="11398466" y="6738043"/>
                  <a:pt x="11392643" y="6739597"/>
                  <a:pt x="11386578" y="6739597"/>
                </a:cubicBezTo>
                <a:cubicBezTo>
                  <a:pt x="11380514" y="6739597"/>
                  <a:pt x="11374691" y="6738043"/>
                  <a:pt x="11369110" y="6734936"/>
                </a:cubicBezTo>
                <a:cubicBezTo>
                  <a:pt x="11363529" y="6731830"/>
                  <a:pt x="11359185" y="6727495"/>
                  <a:pt x="11356078" y="6721932"/>
                </a:cubicBezTo>
                <a:cubicBezTo>
                  <a:pt x="11352971" y="6716370"/>
                  <a:pt x="11351418" y="6710556"/>
                  <a:pt x="11351418" y="6704492"/>
                </a:cubicBezTo>
                <a:cubicBezTo>
                  <a:pt x="11351418" y="6698390"/>
                  <a:pt x="11352999" y="6692520"/>
                  <a:pt x="11356162" y="6686883"/>
                </a:cubicBezTo>
                <a:cubicBezTo>
                  <a:pt x="11359324" y="6681247"/>
                  <a:pt x="11363705" y="6676912"/>
                  <a:pt x="11369305" y="6673880"/>
                </a:cubicBezTo>
                <a:cubicBezTo>
                  <a:pt x="11374905" y="6670847"/>
                  <a:pt x="11380662" y="6669331"/>
                  <a:pt x="11386578" y="6669331"/>
                </a:cubicBezTo>
                <a:close/>
                <a:moveTo>
                  <a:pt x="11469234" y="6663750"/>
                </a:moveTo>
                <a:lnTo>
                  <a:pt x="11469234" y="6745568"/>
                </a:lnTo>
                <a:lnTo>
                  <a:pt x="11480061" y="6745568"/>
                </a:lnTo>
                <a:lnTo>
                  <a:pt x="11480061" y="6663750"/>
                </a:lnTo>
                <a:close/>
                <a:moveTo>
                  <a:pt x="11386578" y="6662355"/>
                </a:moveTo>
                <a:cubicBezTo>
                  <a:pt x="11379509" y="6662355"/>
                  <a:pt x="11372607" y="6664169"/>
                  <a:pt x="11365873" y="6667796"/>
                </a:cubicBezTo>
                <a:cubicBezTo>
                  <a:pt x="11359138" y="6671424"/>
                  <a:pt x="11353883" y="6676614"/>
                  <a:pt x="11350106" y="6683367"/>
                </a:cubicBezTo>
                <a:cubicBezTo>
                  <a:pt x="11346330" y="6690120"/>
                  <a:pt x="11344441" y="6697162"/>
                  <a:pt x="11344441" y="6704492"/>
                </a:cubicBezTo>
                <a:cubicBezTo>
                  <a:pt x="11344441" y="6711747"/>
                  <a:pt x="11346302" y="6718723"/>
                  <a:pt x="11350022" y="6725421"/>
                </a:cubicBezTo>
                <a:cubicBezTo>
                  <a:pt x="11353743" y="6732118"/>
                  <a:pt x="11358943" y="6737318"/>
                  <a:pt x="11365622" y="6741020"/>
                </a:cubicBezTo>
                <a:cubicBezTo>
                  <a:pt x="11372300" y="6744722"/>
                  <a:pt x="11379286" y="6746573"/>
                  <a:pt x="11386578" y="6746573"/>
                </a:cubicBezTo>
                <a:cubicBezTo>
                  <a:pt x="11393871" y="6746573"/>
                  <a:pt x="11400857" y="6744722"/>
                  <a:pt x="11407535" y="6741020"/>
                </a:cubicBezTo>
                <a:cubicBezTo>
                  <a:pt x="11414214" y="6737318"/>
                  <a:pt x="11419404" y="6732118"/>
                  <a:pt x="11423106" y="6725421"/>
                </a:cubicBezTo>
                <a:cubicBezTo>
                  <a:pt x="11426809" y="6718723"/>
                  <a:pt x="11428660" y="6711747"/>
                  <a:pt x="11428660" y="6704492"/>
                </a:cubicBezTo>
                <a:cubicBezTo>
                  <a:pt x="11428660" y="6697162"/>
                  <a:pt x="11426781" y="6690120"/>
                  <a:pt x="11423023" y="6683367"/>
                </a:cubicBezTo>
                <a:cubicBezTo>
                  <a:pt x="11419265" y="6676614"/>
                  <a:pt x="11414019" y="6671424"/>
                  <a:pt x="11407284" y="6667796"/>
                </a:cubicBezTo>
                <a:cubicBezTo>
                  <a:pt x="11400550" y="6664169"/>
                  <a:pt x="11393648" y="6662355"/>
                  <a:pt x="11386578" y="6662355"/>
                </a:cubicBezTo>
                <a:close/>
                <a:moveTo>
                  <a:pt x="818352" y="6201649"/>
                </a:moveTo>
                <a:lnTo>
                  <a:pt x="818352" y="6597649"/>
                </a:lnTo>
                <a:lnTo>
                  <a:pt x="824702" y="6597649"/>
                </a:lnTo>
                <a:lnTo>
                  <a:pt x="824702" y="6201649"/>
                </a:lnTo>
                <a:close/>
                <a:moveTo>
                  <a:pt x="11344275" y="6196639"/>
                </a:moveTo>
                <a:cubicBezTo>
                  <a:pt x="11344275" y="6196639"/>
                  <a:pt x="11344275" y="6196639"/>
                  <a:pt x="11344275" y="6534644"/>
                </a:cubicBezTo>
                <a:lnTo>
                  <a:pt x="11344275" y="6605968"/>
                </a:lnTo>
                <a:lnTo>
                  <a:pt x="11737507" y="6605968"/>
                </a:lnTo>
                <a:lnTo>
                  <a:pt x="11755855" y="6553660"/>
                </a:lnTo>
                <a:cubicBezTo>
                  <a:pt x="11794321" y="6430829"/>
                  <a:pt x="11797956" y="6316342"/>
                  <a:pt x="11780876" y="6196639"/>
                </a:cubicBezTo>
                <a:cubicBezTo>
                  <a:pt x="11780876" y="6196639"/>
                  <a:pt x="11780876" y="6196639"/>
                  <a:pt x="11344275" y="6196639"/>
                </a:cubicBezTo>
                <a:close/>
                <a:moveTo>
                  <a:pt x="0" y="0"/>
                </a:moveTo>
                <a:lnTo>
                  <a:pt x="12191999" y="0"/>
                </a:lnTo>
                <a:lnTo>
                  <a:pt x="12191999" y="6854824"/>
                </a:lnTo>
                <a:lnTo>
                  <a:pt x="0" y="6854824"/>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21" name="strTitlePosition">
            <a:extLst>
              <a:ext uri="{FF2B5EF4-FFF2-40B4-BE49-F238E27FC236}">
                <a16:creationId xmlns:a16="http://schemas.microsoft.com/office/drawing/2014/main" id="{05AB00EC-2B1B-458A-8B63-05D579DC525D}"/>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22" name="strSubtitle">
            <a:extLst>
              <a:ext uri="{FF2B5EF4-FFF2-40B4-BE49-F238E27FC236}">
                <a16:creationId xmlns:a16="http://schemas.microsoft.com/office/drawing/2014/main" id="{12116F72-CEFE-4CFF-B187-FF8C25E39C2E}"/>
              </a:ext>
            </a:extLst>
          </p:cNvPr>
          <p:cNvSpPr>
            <a:spLocks noGrp="1"/>
          </p:cNvSpPr>
          <p:nvPr>
            <p:ph type="body" sz="quarter" idx="16" hasCustomPrompt="1"/>
          </p:nvPr>
        </p:nvSpPr>
        <p:spPr>
          <a:xfrm>
            <a:off x="414980" y="2816932"/>
            <a:ext cx="7559675" cy="442035"/>
          </a:xfrm>
        </p:spPr>
        <p:txBody>
          <a:bodyPr lIns="72000" tIns="36000" rIns="72000" bIns="36000">
            <a:noAutofit/>
          </a:bodyPr>
          <a:lstStyle>
            <a:lvl1pPr>
              <a:defRPr sz="2400" b="1">
                <a:solidFill>
                  <a:schemeClr val="bg1"/>
                </a:solidFill>
              </a:defRPr>
            </a:lvl1pPr>
          </a:lstStyle>
          <a:p>
            <a:pPr lvl="0"/>
            <a:r>
              <a:rPr lang="en-US" dirty="0"/>
              <a:t>Subtitle of the chapter</a:t>
            </a:r>
          </a:p>
        </p:txBody>
      </p:sp>
      <p:sp>
        <p:nvSpPr>
          <p:cNvPr id="23" name="strTitle">
            <a:extLst>
              <a:ext uri="{FF2B5EF4-FFF2-40B4-BE49-F238E27FC236}">
                <a16:creationId xmlns:a16="http://schemas.microsoft.com/office/drawing/2014/main" id="{C23FEB55-C915-4D7F-9079-1736E43D526C}"/>
              </a:ext>
            </a:extLst>
          </p:cNvPr>
          <p:cNvSpPr>
            <a:spLocks noGrp="1"/>
          </p:cNvSpPr>
          <p:nvPr>
            <p:ph type="title" hasCustomPrompt="1"/>
          </p:nvPr>
        </p:nvSpPr>
        <p:spPr>
          <a:xfrm>
            <a:off x="414980" y="367200"/>
            <a:ext cx="7560000"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4" name="strSlideNumber">
            <a:extLst>
              <a:ext uri="{FF2B5EF4-FFF2-40B4-BE49-F238E27FC236}">
                <a16:creationId xmlns:a16="http://schemas.microsoft.com/office/drawing/2014/main" id="{FA4C842B-27DD-4F5E-87E3-6EBC0097FD43}"/>
              </a:ext>
            </a:extLst>
          </p:cNvPr>
          <p:cNvSpPr>
            <a:spLocks noGrp="1"/>
          </p:cNvSpPr>
          <p:nvPr>
            <p:ph type="sldNum" sz="quarter" idx="14"/>
          </p:nvPr>
        </p:nvSpPr>
        <p:spPr>
          <a:xfrm>
            <a:off x="407988" y="6200775"/>
            <a:ext cx="413538" cy="396875"/>
          </a:xfrm>
        </p:spPr>
        <p:txBody>
          <a:bodyPr/>
          <a:lstStyle>
            <a:lvl1pPr>
              <a:defRPr>
                <a:solidFill>
                  <a:schemeClr val="bg1"/>
                </a:solidFill>
              </a:defRPr>
            </a:lvl1pPr>
          </a:lstStyle>
          <a:p>
            <a:fld id="{D61AABEC-672F-4B68-B914-690DA978312C}" type="slidenum">
              <a:rPr lang="en-US" noProof="0" smtClean="0"/>
              <a:pPr/>
              <a:t>‹#›</a:t>
            </a:fld>
            <a:r>
              <a:rPr lang="en-US" noProof="0" dirty="0"/>
              <a:t> </a:t>
            </a:r>
          </a:p>
        </p:txBody>
      </p:sp>
      <p:cxnSp>
        <p:nvCxnSpPr>
          <p:cNvPr id="16" name="SlideNumberLine">
            <a:extLst>
              <a:ext uri="{FF2B5EF4-FFF2-40B4-BE49-F238E27FC236}">
                <a16:creationId xmlns:a16="http://schemas.microsoft.com/office/drawing/2014/main" id="{6AA612DE-4EA7-42A2-B8BA-634FFB30C3C7}"/>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Line cutout">
            <a:extLst>
              <a:ext uri="{FF2B5EF4-FFF2-40B4-BE49-F238E27FC236}">
                <a16:creationId xmlns:a16="http://schemas.microsoft.com/office/drawing/2014/main" id="{08308E15-7231-4058-A330-6E17FED2D367}"/>
              </a:ext>
            </a:extLst>
          </p:cNvPr>
          <p:cNvSpPr/>
          <p:nvPr userDrawn="1"/>
        </p:nvSpPr>
        <p:spPr>
          <a:xfrm>
            <a:off x="818354" y="6201650"/>
            <a:ext cx="6350" cy="3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nvGrpSpPr>
          <p:cNvPr id="44" name="(c) Ipsos cutout" hidden="1">
            <a:extLst>
              <a:ext uri="{FF2B5EF4-FFF2-40B4-BE49-F238E27FC236}">
                <a16:creationId xmlns:a16="http://schemas.microsoft.com/office/drawing/2014/main" id="{0E42189F-7BBA-4D6E-BA81-CEE0BF050273}"/>
              </a:ext>
            </a:extLst>
          </p:cNvPr>
          <p:cNvGrpSpPr/>
          <p:nvPr userDrawn="1"/>
        </p:nvGrpSpPr>
        <p:grpSpPr>
          <a:xfrm>
            <a:off x="11344442" y="6662356"/>
            <a:ext cx="385950" cy="105928"/>
            <a:chOff x="11344442" y="6662356"/>
            <a:chExt cx="385950" cy="105928"/>
          </a:xfrm>
        </p:grpSpPr>
        <p:sp>
          <p:nvSpPr>
            <p:cNvPr id="45" name="Freeform: Shape 44">
              <a:extLst>
                <a:ext uri="{FF2B5EF4-FFF2-40B4-BE49-F238E27FC236}">
                  <a16:creationId xmlns:a16="http://schemas.microsoft.com/office/drawing/2014/main" id="{FD843A2F-F2BC-4D5B-A0E3-ACBDFDC0016F}"/>
                </a:ext>
              </a:extLst>
            </p:cNvPr>
            <p:cNvSpPr/>
            <p:nvPr userDrawn="1"/>
          </p:nvSpPr>
          <p:spPr>
            <a:xfrm>
              <a:off x="11344442" y="6662356"/>
              <a:ext cx="84219" cy="84218"/>
            </a:xfrm>
            <a:custGeom>
              <a:avLst/>
              <a:gdLst/>
              <a:ahLst/>
              <a:cxnLst/>
              <a:rect l="l" t="t" r="r" b="b"/>
              <a:pathLst>
                <a:path w="84219" h="84218">
                  <a:moveTo>
                    <a:pt x="42137" y="0"/>
                  </a:moveTo>
                  <a:cubicBezTo>
                    <a:pt x="49207" y="0"/>
                    <a:pt x="56109" y="1814"/>
                    <a:pt x="62843" y="5441"/>
                  </a:cubicBezTo>
                  <a:cubicBezTo>
                    <a:pt x="69578" y="9069"/>
                    <a:pt x="74824" y="14259"/>
                    <a:pt x="78582" y="21012"/>
                  </a:cubicBezTo>
                  <a:cubicBezTo>
                    <a:pt x="82340" y="27765"/>
                    <a:pt x="84219" y="34807"/>
                    <a:pt x="84219" y="42137"/>
                  </a:cubicBezTo>
                  <a:cubicBezTo>
                    <a:pt x="84219" y="49392"/>
                    <a:pt x="82368" y="56368"/>
                    <a:pt x="78665" y="63066"/>
                  </a:cubicBezTo>
                  <a:cubicBezTo>
                    <a:pt x="74963" y="69763"/>
                    <a:pt x="69773" y="74963"/>
                    <a:pt x="63094" y="78665"/>
                  </a:cubicBezTo>
                  <a:cubicBezTo>
                    <a:pt x="56416" y="82367"/>
                    <a:pt x="49430" y="84218"/>
                    <a:pt x="42137" y="84218"/>
                  </a:cubicBezTo>
                  <a:cubicBezTo>
                    <a:pt x="34845" y="84218"/>
                    <a:pt x="27859" y="82367"/>
                    <a:pt x="21181" y="78665"/>
                  </a:cubicBezTo>
                  <a:cubicBezTo>
                    <a:pt x="14502" y="74963"/>
                    <a:pt x="9302" y="69763"/>
                    <a:pt x="5581" y="63066"/>
                  </a:cubicBezTo>
                  <a:cubicBezTo>
                    <a:pt x="1861" y="56368"/>
                    <a:pt x="0" y="49392"/>
                    <a:pt x="0" y="42137"/>
                  </a:cubicBezTo>
                  <a:cubicBezTo>
                    <a:pt x="0" y="34807"/>
                    <a:pt x="1889" y="27765"/>
                    <a:pt x="5665" y="21012"/>
                  </a:cubicBezTo>
                  <a:cubicBezTo>
                    <a:pt x="9442" y="14259"/>
                    <a:pt x="14697" y="9069"/>
                    <a:pt x="21432" y="5441"/>
                  </a:cubicBezTo>
                  <a:cubicBezTo>
                    <a:pt x="28166" y="1814"/>
                    <a:pt x="35068" y="0"/>
                    <a:pt x="42137" y="0"/>
                  </a:cubicBezTo>
                  <a:close/>
                  <a:moveTo>
                    <a:pt x="42137" y="6976"/>
                  </a:moveTo>
                  <a:cubicBezTo>
                    <a:pt x="36221" y="6976"/>
                    <a:pt x="30464" y="8492"/>
                    <a:pt x="24864" y="11525"/>
                  </a:cubicBezTo>
                  <a:cubicBezTo>
                    <a:pt x="19264" y="14557"/>
                    <a:pt x="14883" y="18892"/>
                    <a:pt x="11721" y="24528"/>
                  </a:cubicBezTo>
                  <a:cubicBezTo>
                    <a:pt x="8558" y="30165"/>
                    <a:pt x="6977" y="36035"/>
                    <a:pt x="6977" y="42137"/>
                  </a:cubicBezTo>
                  <a:cubicBezTo>
                    <a:pt x="6977" y="48201"/>
                    <a:pt x="8530" y="54015"/>
                    <a:pt x="11637" y="59577"/>
                  </a:cubicBezTo>
                  <a:cubicBezTo>
                    <a:pt x="14744" y="65140"/>
                    <a:pt x="19088" y="69475"/>
                    <a:pt x="24669" y="72581"/>
                  </a:cubicBezTo>
                  <a:cubicBezTo>
                    <a:pt x="30250" y="75688"/>
                    <a:pt x="36073" y="77242"/>
                    <a:pt x="42137" y="77242"/>
                  </a:cubicBezTo>
                  <a:cubicBezTo>
                    <a:pt x="48202" y="77242"/>
                    <a:pt x="54025" y="75688"/>
                    <a:pt x="59606" y="72581"/>
                  </a:cubicBezTo>
                  <a:cubicBezTo>
                    <a:pt x="65187" y="69475"/>
                    <a:pt x="69522" y="65140"/>
                    <a:pt x="72610" y="59577"/>
                  </a:cubicBezTo>
                  <a:cubicBezTo>
                    <a:pt x="75698" y="54015"/>
                    <a:pt x="77242" y="48201"/>
                    <a:pt x="77242" y="42137"/>
                  </a:cubicBezTo>
                  <a:cubicBezTo>
                    <a:pt x="77242" y="36035"/>
                    <a:pt x="75670" y="30165"/>
                    <a:pt x="72526" y="24528"/>
                  </a:cubicBezTo>
                  <a:cubicBezTo>
                    <a:pt x="69382" y="18892"/>
                    <a:pt x="65001" y="14557"/>
                    <a:pt x="59383" y="11525"/>
                  </a:cubicBezTo>
                  <a:cubicBezTo>
                    <a:pt x="53765" y="8492"/>
                    <a:pt x="48016" y="6976"/>
                    <a:pt x="42137" y="697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Freeform: Shape 45">
              <a:extLst>
                <a:ext uri="{FF2B5EF4-FFF2-40B4-BE49-F238E27FC236}">
                  <a16:creationId xmlns:a16="http://schemas.microsoft.com/office/drawing/2014/main" id="{E67FD06E-22DF-4522-8A29-F144FF6904A9}"/>
                </a:ext>
              </a:extLst>
            </p:cNvPr>
            <p:cNvSpPr/>
            <p:nvPr userDrawn="1"/>
          </p:nvSpPr>
          <p:spPr>
            <a:xfrm>
              <a:off x="11469235" y="6663751"/>
              <a:ext cx="10827" cy="81818"/>
            </a:xfrm>
            <a:custGeom>
              <a:avLst/>
              <a:gdLst/>
              <a:ahLst/>
              <a:cxnLst/>
              <a:rect l="l" t="t" r="r" b="b"/>
              <a:pathLst>
                <a:path w="10827" h="81818">
                  <a:moveTo>
                    <a:pt x="0" y="0"/>
                  </a:moveTo>
                  <a:lnTo>
                    <a:pt x="10827" y="0"/>
                  </a:lnTo>
                  <a:lnTo>
                    <a:pt x="10827" y="81818"/>
                  </a:lnTo>
                  <a:lnTo>
                    <a:pt x="0" y="81818"/>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7" name="Freeform: Shape 46">
              <a:extLst>
                <a:ext uri="{FF2B5EF4-FFF2-40B4-BE49-F238E27FC236}">
                  <a16:creationId xmlns:a16="http://schemas.microsoft.com/office/drawing/2014/main" id="{A5467A32-28C1-437D-B6BB-5BEC023E5EBB}"/>
                </a:ext>
              </a:extLst>
            </p:cNvPr>
            <p:cNvSpPr/>
            <p:nvPr userDrawn="1"/>
          </p:nvSpPr>
          <p:spPr>
            <a:xfrm>
              <a:off x="11364534" y="6678448"/>
              <a:ext cx="42416" cy="47774"/>
            </a:xfrm>
            <a:custGeom>
              <a:avLst/>
              <a:gdLst/>
              <a:ahLst/>
              <a:cxnLst/>
              <a:rect l="l" t="t" r="r" b="b"/>
              <a:pathLst>
                <a:path w="42416" h="47774">
                  <a:moveTo>
                    <a:pt x="22548" y="0"/>
                  </a:moveTo>
                  <a:cubicBezTo>
                    <a:pt x="27496" y="0"/>
                    <a:pt x="31608" y="1181"/>
                    <a:pt x="34882" y="3544"/>
                  </a:cubicBezTo>
                  <a:cubicBezTo>
                    <a:pt x="38156" y="5907"/>
                    <a:pt x="40388" y="9116"/>
                    <a:pt x="41579" y="13171"/>
                  </a:cubicBezTo>
                  <a:lnTo>
                    <a:pt x="34938" y="14790"/>
                  </a:lnTo>
                  <a:cubicBezTo>
                    <a:pt x="33821" y="12036"/>
                    <a:pt x="32175" y="9925"/>
                    <a:pt x="29998" y="8455"/>
                  </a:cubicBezTo>
                  <a:cubicBezTo>
                    <a:pt x="27822" y="6986"/>
                    <a:pt x="25264" y="6251"/>
                    <a:pt x="22324" y="6251"/>
                  </a:cubicBezTo>
                  <a:cubicBezTo>
                    <a:pt x="18046" y="6251"/>
                    <a:pt x="14520" y="7776"/>
                    <a:pt x="11748" y="10827"/>
                  </a:cubicBezTo>
                  <a:cubicBezTo>
                    <a:pt x="8976" y="13878"/>
                    <a:pt x="7590" y="18250"/>
                    <a:pt x="7590" y="23943"/>
                  </a:cubicBezTo>
                  <a:cubicBezTo>
                    <a:pt x="7590" y="29635"/>
                    <a:pt x="8902" y="33942"/>
                    <a:pt x="11525" y="36863"/>
                  </a:cubicBezTo>
                  <a:cubicBezTo>
                    <a:pt x="14148" y="39784"/>
                    <a:pt x="17543" y="41244"/>
                    <a:pt x="21711" y="41244"/>
                  </a:cubicBezTo>
                  <a:cubicBezTo>
                    <a:pt x="25059" y="41244"/>
                    <a:pt x="27999" y="40277"/>
                    <a:pt x="30529" y="38342"/>
                  </a:cubicBezTo>
                  <a:cubicBezTo>
                    <a:pt x="33059" y="36407"/>
                    <a:pt x="34733" y="33784"/>
                    <a:pt x="35552" y="30473"/>
                  </a:cubicBezTo>
                  <a:lnTo>
                    <a:pt x="42416" y="32482"/>
                  </a:lnTo>
                  <a:cubicBezTo>
                    <a:pt x="41300" y="37133"/>
                    <a:pt x="38928" y="40844"/>
                    <a:pt x="35300" y="43616"/>
                  </a:cubicBezTo>
                  <a:cubicBezTo>
                    <a:pt x="31673" y="46388"/>
                    <a:pt x="27273" y="47774"/>
                    <a:pt x="22101" y="47774"/>
                  </a:cubicBezTo>
                  <a:cubicBezTo>
                    <a:pt x="15553" y="47774"/>
                    <a:pt x="10232" y="45653"/>
                    <a:pt x="6139" y="41411"/>
                  </a:cubicBezTo>
                  <a:cubicBezTo>
                    <a:pt x="2047" y="37170"/>
                    <a:pt x="0" y="31291"/>
                    <a:pt x="0" y="23775"/>
                  </a:cubicBezTo>
                  <a:cubicBezTo>
                    <a:pt x="0" y="18864"/>
                    <a:pt x="930" y="14594"/>
                    <a:pt x="2791" y="10967"/>
                  </a:cubicBezTo>
                  <a:cubicBezTo>
                    <a:pt x="4651" y="7339"/>
                    <a:pt x="7302" y="4604"/>
                    <a:pt x="10744" y="2763"/>
                  </a:cubicBezTo>
                  <a:cubicBezTo>
                    <a:pt x="14185" y="921"/>
                    <a:pt x="18120" y="0"/>
                    <a:pt x="22548"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8" name="Freeform: Shape 47">
              <a:extLst>
                <a:ext uri="{FF2B5EF4-FFF2-40B4-BE49-F238E27FC236}">
                  <a16:creationId xmlns:a16="http://schemas.microsoft.com/office/drawing/2014/main" id="{36B0E33D-E4BE-47AA-AF1E-B18A001F15F5}"/>
                </a:ext>
              </a:extLst>
            </p:cNvPr>
            <p:cNvSpPr/>
            <p:nvPr userDrawn="1"/>
          </p:nvSpPr>
          <p:spPr>
            <a:xfrm>
              <a:off x="11497065" y="6684959"/>
              <a:ext cx="51458" cy="83325"/>
            </a:xfrm>
            <a:custGeom>
              <a:avLst/>
              <a:gdLst/>
              <a:ahLst/>
              <a:cxnLst/>
              <a:rect l="l" t="t" r="r" b="b"/>
              <a:pathLst>
                <a:path w="51458" h="83325">
                  <a:moveTo>
                    <a:pt x="26343" y="0"/>
                  </a:moveTo>
                  <a:cubicBezTo>
                    <a:pt x="31403" y="0"/>
                    <a:pt x="35868" y="1302"/>
                    <a:pt x="39738" y="3907"/>
                  </a:cubicBezTo>
                  <a:cubicBezTo>
                    <a:pt x="43607" y="6511"/>
                    <a:pt x="46528" y="10185"/>
                    <a:pt x="48500" y="14929"/>
                  </a:cubicBezTo>
                  <a:cubicBezTo>
                    <a:pt x="50472" y="19673"/>
                    <a:pt x="51458" y="24873"/>
                    <a:pt x="51458" y="30528"/>
                  </a:cubicBezTo>
                  <a:cubicBezTo>
                    <a:pt x="51458" y="36593"/>
                    <a:pt x="50369" y="42053"/>
                    <a:pt x="48193" y="46909"/>
                  </a:cubicBezTo>
                  <a:cubicBezTo>
                    <a:pt x="46016" y="51764"/>
                    <a:pt x="42854" y="55485"/>
                    <a:pt x="38705" y="58071"/>
                  </a:cubicBezTo>
                  <a:cubicBezTo>
                    <a:pt x="34556" y="60657"/>
                    <a:pt x="30194" y="61950"/>
                    <a:pt x="25617" y="61950"/>
                  </a:cubicBezTo>
                  <a:cubicBezTo>
                    <a:pt x="22269" y="61950"/>
                    <a:pt x="19264" y="61243"/>
                    <a:pt x="16604" y="59829"/>
                  </a:cubicBezTo>
                  <a:cubicBezTo>
                    <a:pt x="13944" y="58415"/>
                    <a:pt x="11758" y="56629"/>
                    <a:pt x="10046" y="54471"/>
                  </a:cubicBezTo>
                  <a:lnTo>
                    <a:pt x="10046" y="83325"/>
                  </a:lnTo>
                  <a:lnTo>
                    <a:pt x="0" y="83325"/>
                  </a:lnTo>
                  <a:lnTo>
                    <a:pt x="0" y="1339"/>
                  </a:lnTo>
                  <a:lnTo>
                    <a:pt x="9153" y="1339"/>
                  </a:lnTo>
                  <a:lnTo>
                    <a:pt x="9153" y="9041"/>
                  </a:lnTo>
                  <a:cubicBezTo>
                    <a:pt x="11311" y="6028"/>
                    <a:pt x="13748" y="3767"/>
                    <a:pt x="16465" y="2260"/>
                  </a:cubicBezTo>
                  <a:cubicBezTo>
                    <a:pt x="19181" y="753"/>
                    <a:pt x="22473" y="0"/>
                    <a:pt x="26343" y="0"/>
                  </a:cubicBezTo>
                  <a:close/>
                  <a:moveTo>
                    <a:pt x="25394" y="7869"/>
                  </a:moveTo>
                  <a:cubicBezTo>
                    <a:pt x="21115" y="7869"/>
                    <a:pt x="17330" y="9869"/>
                    <a:pt x="14037" y="13869"/>
                  </a:cubicBezTo>
                  <a:cubicBezTo>
                    <a:pt x="10744" y="17869"/>
                    <a:pt x="9098" y="23682"/>
                    <a:pt x="9098" y="31310"/>
                  </a:cubicBezTo>
                  <a:cubicBezTo>
                    <a:pt x="9098" y="38937"/>
                    <a:pt x="10642" y="44574"/>
                    <a:pt x="13730" y="48220"/>
                  </a:cubicBezTo>
                  <a:cubicBezTo>
                    <a:pt x="16818" y="51867"/>
                    <a:pt x="20557" y="53690"/>
                    <a:pt x="24948" y="53690"/>
                  </a:cubicBezTo>
                  <a:cubicBezTo>
                    <a:pt x="29413" y="53690"/>
                    <a:pt x="33236" y="51801"/>
                    <a:pt x="36417" y="48025"/>
                  </a:cubicBezTo>
                  <a:cubicBezTo>
                    <a:pt x="39598" y="44248"/>
                    <a:pt x="41189" y="38398"/>
                    <a:pt x="41189" y="30473"/>
                  </a:cubicBezTo>
                  <a:cubicBezTo>
                    <a:pt x="41189" y="22920"/>
                    <a:pt x="39635" y="17264"/>
                    <a:pt x="36528" y="13506"/>
                  </a:cubicBezTo>
                  <a:cubicBezTo>
                    <a:pt x="33422" y="9748"/>
                    <a:pt x="29710" y="7869"/>
                    <a:pt x="25394" y="7869"/>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9" name="Freeform: Shape 48">
              <a:extLst>
                <a:ext uri="{FF2B5EF4-FFF2-40B4-BE49-F238E27FC236}">
                  <a16:creationId xmlns:a16="http://schemas.microsoft.com/office/drawing/2014/main" id="{73EB7E36-506C-4D0A-94E7-59405FE2BB09}"/>
                </a:ext>
              </a:extLst>
            </p:cNvPr>
            <p:cNvSpPr/>
            <p:nvPr userDrawn="1"/>
          </p:nvSpPr>
          <p:spPr>
            <a:xfrm>
              <a:off x="11557341"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0" name="Freeform: Shape 49">
              <a:extLst>
                <a:ext uri="{FF2B5EF4-FFF2-40B4-BE49-F238E27FC236}">
                  <a16:creationId xmlns:a16="http://schemas.microsoft.com/office/drawing/2014/main" id="{F614AAA0-7179-4F00-B7D6-9FA582B3E437}"/>
                </a:ext>
              </a:extLst>
            </p:cNvPr>
            <p:cNvSpPr/>
            <p:nvPr userDrawn="1"/>
          </p:nvSpPr>
          <p:spPr>
            <a:xfrm>
              <a:off x="11614771" y="6684959"/>
              <a:ext cx="55532" cy="61950"/>
            </a:xfrm>
            <a:custGeom>
              <a:avLst/>
              <a:gdLst/>
              <a:ahLst/>
              <a:cxnLst/>
              <a:rect l="l" t="t" r="r" b="b"/>
              <a:pathLst>
                <a:path w="55532" h="61950">
                  <a:moveTo>
                    <a:pt x="27794" y="0"/>
                  </a:moveTo>
                  <a:cubicBezTo>
                    <a:pt x="35942" y="0"/>
                    <a:pt x="42602" y="2670"/>
                    <a:pt x="47774" y="8009"/>
                  </a:cubicBezTo>
                  <a:cubicBezTo>
                    <a:pt x="52946" y="13348"/>
                    <a:pt x="55532" y="20724"/>
                    <a:pt x="55532" y="30138"/>
                  </a:cubicBezTo>
                  <a:cubicBezTo>
                    <a:pt x="55532" y="37765"/>
                    <a:pt x="54387" y="43765"/>
                    <a:pt x="52099" y="48137"/>
                  </a:cubicBezTo>
                  <a:cubicBezTo>
                    <a:pt x="49811" y="52508"/>
                    <a:pt x="46481" y="55904"/>
                    <a:pt x="42109" y="58322"/>
                  </a:cubicBezTo>
                  <a:cubicBezTo>
                    <a:pt x="37737" y="60740"/>
                    <a:pt x="32966" y="61950"/>
                    <a:pt x="27794" y="61950"/>
                  </a:cubicBezTo>
                  <a:cubicBezTo>
                    <a:pt x="19497" y="61950"/>
                    <a:pt x="12790" y="59289"/>
                    <a:pt x="7674" y="53969"/>
                  </a:cubicBezTo>
                  <a:cubicBezTo>
                    <a:pt x="2558" y="48648"/>
                    <a:pt x="0" y="40984"/>
                    <a:pt x="0" y="30975"/>
                  </a:cubicBezTo>
                  <a:cubicBezTo>
                    <a:pt x="0" y="19999"/>
                    <a:pt x="3051" y="11869"/>
                    <a:pt x="9153" y="6586"/>
                  </a:cubicBezTo>
                  <a:cubicBezTo>
                    <a:pt x="14250" y="2195"/>
                    <a:pt x="20464" y="0"/>
                    <a:pt x="27794" y="0"/>
                  </a:cubicBezTo>
                  <a:close/>
                  <a:moveTo>
                    <a:pt x="27794" y="8316"/>
                  </a:moveTo>
                  <a:cubicBezTo>
                    <a:pt x="22771" y="8316"/>
                    <a:pt x="18604" y="10195"/>
                    <a:pt x="15292" y="13953"/>
                  </a:cubicBezTo>
                  <a:cubicBezTo>
                    <a:pt x="11981" y="17711"/>
                    <a:pt x="10325" y="23385"/>
                    <a:pt x="10325" y="30975"/>
                  </a:cubicBezTo>
                  <a:cubicBezTo>
                    <a:pt x="10325" y="38565"/>
                    <a:pt x="11981" y="44248"/>
                    <a:pt x="15292" y="48025"/>
                  </a:cubicBezTo>
                  <a:cubicBezTo>
                    <a:pt x="18604" y="51801"/>
                    <a:pt x="22771" y="53690"/>
                    <a:pt x="27794" y="53690"/>
                  </a:cubicBezTo>
                  <a:cubicBezTo>
                    <a:pt x="32779" y="53690"/>
                    <a:pt x="36928" y="51792"/>
                    <a:pt x="40240" y="47997"/>
                  </a:cubicBezTo>
                  <a:cubicBezTo>
                    <a:pt x="43551" y="44202"/>
                    <a:pt x="45207" y="38416"/>
                    <a:pt x="45207" y="30640"/>
                  </a:cubicBezTo>
                  <a:cubicBezTo>
                    <a:pt x="45207" y="23310"/>
                    <a:pt x="43542" y="17757"/>
                    <a:pt x="40212" y="13981"/>
                  </a:cubicBezTo>
                  <a:cubicBezTo>
                    <a:pt x="36882" y="10204"/>
                    <a:pt x="32742" y="8316"/>
                    <a:pt x="27794" y="831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1" name="Freeform: Shape 50">
              <a:extLst>
                <a:ext uri="{FF2B5EF4-FFF2-40B4-BE49-F238E27FC236}">
                  <a16:creationId xmlns:a16="http://schemas.microsoft.com/office/drawing/2014/main" id="{BBF84D52-5F14-4C29-9119-B378FB71813D}"/>
                </a:ext>
              </a:extLst>
            </p:cNvPr>
            <p:cNvSpPr/>
            <p:nvPr userDrawn="1"/>
          </p:nvSpPr>
          <p:spPr>
            <a:xfrm>
              <a:off x="11681167"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3" name="Logo shape cutout" hidden="1">
            <a:extLst>
              <a:ext uri="{FF2B5EF4-FFF2-40B4-BE49-F238E27FC236}">
                <a16:creationId xmlns:a16="http://schemas.microsoft.com/office/drawing/2014/main" id="{07B5C8FF-30B3-4ED3-865D-0966557F2896}"/>
              </a:ext>
            </a:extLst>
          </p:cNvPr>
          <p:cNvSpPr>
            <a:spLocks/>
          </p:cNvSpPr>
          <p:nvPr userDrawn="1"/>
        </p:nvSpPr>
        <p:spPr bwMode="auto">
          <a:xfrm>
            <a:off x="11344276" y="6196640"/>
            <a:ext cx="446338" cy="409329"/>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13" name="(c)Ipsos">
            <a:extLst>
              <a:ext uri="{FF2B5EF4-FFF2-40B4-BE49-F238E27FC236}">
                <a16:creationId xmlns:a16="http://schemas.microsoft.com/office/drawing/2014/main" id="{03AB80D6-18F7-4D93-942E-F3F63CB8C8C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20" name="IpsosLogo">
            <a:extLst>
              <a:ext uri="{FF2B5EF4-FFF2-40B4-BE49-F238E27FC236}">
                <a16:creationId xmlns:a16="http://schemas.microsoft.com/office/drawing/2014/main" id="{BDDC34AF-9BFB-4CFB-8025-0331A178D8E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22068404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_Photo">
    <p:spTree>
      <p:nvGrpSpPr>
        <p:cNvPr id="1" name=""/>
        <p:cNvGrpSpPr/>
        <p:nvPr/>
      </p:nvGrpSpPr>
      <p:grpSpPr>
        <a:xfrm>
          <a:off x="0" y="0"/>
          <a:ext cx="0" cy="0"/>
          <a:chOff x="0" y="0"/>
          <a:chExt cx="0" cy="0"/>
        </a:xfrm>
      </p:grpSpPr>
      <p:grpSp>
        <p:nvGrpSpPr>
          <p:cNvPr id="2" name="Angled stripes">
            <a:extLst>
              <a:ext uri="{FF2B5EF4-FFF2-40B4-BE49-F238E27FC236}">
                <a16:creationId xmlns:a16="http://schemas.microsoft.com/office/drawing/2014/main" id="{BA3228D1-8E1C-4532-A445-1B0ACEA46808}"/>
              </a:ext>
            </a:extLst>
          </p:cNvPr>
          <p:cNvGrpSpPr/>
          <p:nvPr userDrawn="1"/>
        </p:nvGrpSpPr>
        <p:grpSpPr>
          <a:xfrm>
            <a:off x="3254052" y="0"/>
            <a:ext cx="8937948" cy="6858003"/>
            <a:chOff x="3254052" y="0"/>
            <a:chExt cx="8937948" cy="6858003"/>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 name="Picture Placeholder">
            <a:extLst>
              <a:ext uri="{FF2B5EF4-FFF2-40B4-BE49-F238E27FC236}">
                <a16:creationId xmlns:a16="http://schemas.microsoft.com/office/drawing/2014/main" id="{464F111C-F2CE-409B-81CA-DA64A4FE4F74}"/>
              </a:ext>
            </a:extLst>
          </p:cNvPr>
          <p:cNvSpPr>
            <a:spLocks noGrp="1"/>
          </p:cNvSpPr>
          <p:nvPr>
            <p:ph type="pic" sz="quarter" idx="15"/>
          </p:nvPr>
        </p:nvSpPr>
        <p:spPr>
          <a:xfrm>
            <a:off x="0" y="0"/>
            <a:ext cx="12192000" cy="4500563"/>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12" name="strTitlePosition">
            <a:extLst>
              <a:ext uri="{FF2B5EF4-FFF2-40B4-BE49-F238E27FC236}">
                <a16:creationId xmlns:a16="http://schemas.microsoft.com/office/drawing/2014/main" id="{1D8B6F34-1FF5-4513-B434-C7E36796E34D}"/>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13" name="strChapterNumber">
            <a:extLst>
              <a:ext uri="{FF2B5EF4-FFF2-40B4-BE49-F238E27FC236}">
                <a16:creationId xmlns:a16="http://schemas.microsoft.com/office/drawing/2014/main" id="{1B5E7047-0C01-4F2B-B226-F1703295D493}"/>
              </a:ext>
            </a:extLst>
          </p:cNvPr>
          <p:cNvSpPr>
            <a:spLocks noGrp="1"/>
          </p:cNvSpPr>
          <p:nvPr>
            <p:ph type="body" sz="quarter" idx="16" hasCustomPrompt="1"/>
          </p:nvPr>
        </p:nvSpPr>
        <p:spPr>
          <a:xfrm>
            <a:off x="414980" y="4906800"/>
            <a:ext cx="7560000" cy="565146"/>
          </a:xfrm>
        </p:spPr>
        <p:txBody>
          <a:bodyPr lIns="72000" tIns="36000" rIns="72000" bIns="36000">
            <a:noAutofit/>
          </a:bodyPr>
          <a:lstStyle>
            <a:lvl1pPr>
              <a:defRPr sz="3200" b="1">
                <a:solidFill>
                  <a:schemeClr val="bg2"/>
                </a:solidFill>
              </a:defRPr>
            </a:lvl1pPr>
          </a:lstStyle>
          <a:p>
            <a:pPr lvl="0"/>
            <a:r>
              <a:rPr lang="en-US" dirty="0"/>
              <a:t>0. Chapter Title</a:t>
            </a:r>
          </a:p>
        </p:txBody>
      </p:sp>
      <p:sp>
        <p:nvSpPr>
          <p:cNvPr id="14" name="strSectionTitle">
            <a:extLst>
              <a:ext uri="{FF2B5EF4-FFF2-40B4-BE49-F238E27FC236}">
                <a16:creationId xmlns:a16="http://schemas.microsoft.com/office/drawing/2014/main" id="{9EF682A8-0C18-4F4D-BC74-8F2EBD47BB73}"/>
              </a:ext>
            </a:extLst>
          </p:cNvPr>
          <p:cNvSpPr>
            <a:spLocks noGrp="1"/>
          </p:cNvSpPr>
          <p:nvPr>
            <p:ph type="title" hasCustomPrompt="1"/>
          </p:nvPr>
        </p:nvSpPr>
        <p:spPr>
          <a:xfrm>
            <a:off x="414980" y="368300"/>
            <a:ext cx="7560000"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47692523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bsection_Photo">
    <p:spTree>
      <p:nvGrpSpPr>
        <p:cNvPr id="1" name=""/>
        <p:cNvGrpSpPr/>
        <p:nvPr/>
      </p:nvGrpSpPr>
      <p:grpSpPr>
        <a:xfrm>
          <a:off x="0" y="0"/>
          <a:ext cx="0" cy="0"/>
          <a:chOff x="0" y="0"/>
          <a:chExt cx="0" cy="0"/>
        </a:xfrm>
      </p:grpSpPr>
      <p:grpSp>
        <p:nvGrpSpPr>
          <p:cNvPr id="2" name="Angled stripes">
            <a:extLst>
              <a:ext uri="{FF2B5EF4-FFF2-40B4-BE49-F238E27FC236}">
                <a16:creationId xmlns:a16="http://schemas.microsoft.com/office/drawing/2014/main" id="{05BF6F63-2BEE-41F6-AAE9-E5F05C96C291}"/>
              </a:ext>
            </a:extLst>
          </p:cNvPr>
          <p:cNvGrpSpPr/>
          <p:nvPr userDrawn="1"/>
        </p:nvGrpSpPr>
        <p:grpSpPr>
          <a:xfrm>
            <a:off x="3254052" y="0"/>
            <a:ext cx="8937950" cy="6858002"/>
            <a:chOff x="3254052" y="0"/>
            <a:chExt cx="8937950" cy="6858002"/>
          </a:xfrm>
        </p:grpSpPr>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Picture Placeholder">
            <a:extLst>
              <a:ext uri="{FF2B5EF4-FFF2-40B4-BE49-F238E27FC236}">
                <a16:creationId xmlns:a16="http://schemas.microsoft.com/office/drawing/2014/main" id="{5FA53FC1-6779-4EFF-968A-438AB9422C06}"/>
              </a:ext>
            </a:extLst>
          </p:cNvPr>
          <p:cNvSpPr>
            <a:spLocks noGrp="1"/>
          </p:cNvSpPr>
          <p:nvPr>
            <p:ph type="pic" sz="quarter" idx="15"/>
          </p:nvPr>
        </p:nvSpPr>
        <p:spPr>
          <a:xfrm>
            <a:off x="0" y="1"/>
            <a:ext cx="12192000" cy="3428998"/>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13" name="strTitlePosition">
            <a:extLst>
              <a:ext uri="{FF2B5EF4-FFF2-40B4-BE49-F238E27FC236}">
                <a16:creationId xmlns:a16="http://schemas.microsoft.com/office/drawing/2014/main" id="{34B70B14-8306-4A58-98BE-9B27D8DAC6F1}"/>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14" name="strSectionNumber">
            <a:extLst>
              <a:ext uri="{FF2B5EF4-FFF2-40B4-BE49-F238E27FC236}">
                <a16:creationId xmlns:a16="http://schemas.microsoft.com/office/drawing/2014/main" id="{CC2CABBE-B81F-45D5-BB42-A8627E0ACFFB}"/>
              </a:ext>
            </a:extLst>
          </p:cNvPr>
          <p:cNvSpPr>
            <a:spLocks noGrp="1"/>
          </p:cNvSpPr>
          <p:nvPr>
            <p:ph type="body" sz="quarter" idx="16" hasCustomPrompt="1"/>
          </p:nvPr>
        </p:nvSpPr>
        <p:spPr>
          <a:xfrm>
            <a:off x="414980" y="3835800"/>
            <a:ext cx="7560000" cy="503590"/>
          </a:xfrm>
        </p:spPr>
        <p:txBody>
          <a:bodyPr lIns="72000" tIns="36000" rIns="72000" bIns="36000">
            <a:noAutofit/>
          </a:bodyPr>
          <a:lstStyle>
            <a:lvl1pPr>
              <a:defRPr sz="2800" b="1">
                <a:solidFill>
                  <a:schemeClr val="bg2"/>
                </a:solidFill>
              </a:defRPr>
            </a:lvl1pPr>
          </a:lstStyle>
          <a:p>
            <a:pPr lvl="0"/>
            <a:r>
              <a:rPr lang="en-US" noProof="0" dirty="0"/>
              <a:t>0.0 Section Title</a:t>
            </a:r>
          </a:p>
        </p:txBody>
      </p:sp>
      <p:sp>
        <p:nvSpPr>
          <p:cNvPr id="16" name="strSubsectionTitle">
            <a:extLst>
              <a:ext uri="{FF2B5EF4-FFF2-40B4-BE49-F238E27FC236}">
                <a16:creationId xmlns:a16="http://schemas.microsoft.com/office/drawing/2014/main" id="{50ABC5ED-56EC-4D15-B354-F2B3F149ED57}"/>
              </a:ext>
            </a:extLst>
          </p:cNvPr>
          <p:cNvSpPr>
            <a:spLocks noGrp="1"/>
          </p:cNvSpPr>
          <p:nvPr>
            <p:ph type="title" hasCustomPrompt="1"/>
          </p:nvPr>
        </p:nvSpPr>
        <p:spPr>
          <a:xfrm>
            <a:off x="414980" y="367200"/>
            <a:ext cx="7560000"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2452685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Blue-Bg">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A134F88B-81D1-4561-899C-8B7B398059EB}"/>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AFBC13EB-0E3E-4829-B8A9-F0348843A43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157402CB-1C5C-42E9-9418-B285250D4D2C}"/>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27" name="strTitlePosition">
            <a:extLst>
              <a:ext uri="{FF2B5EF4-FFF2-40B4-BE49-F238E27FC236}">
                <a16:creationId xmlns:a16="http://schemas.microsoft.com/office/drawing/2014/main" id="{310F21C4-1B75-4CB5-9457-0BB01A9B30EB}"/>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28" name="strSubtitle">
            <a:extLst>
              <a:ext uri="{FF2B5EF4-FFF2-40B4-BE49-F238E27FC236}">
                <a16:creationId xmlns:a16="http://schemas.microsoft.com/office/drawing/2014/main" id="{EAD9E490-1E31-4422-92FE-CCB15CA4E7B4}"/>
              </a:ext>
            </a:extLst>
          </p:cNvPr>
          <p:cNvSpPr>
            <a:spLocks noGrp="1"/>
          </p:cNvSpPr>
          <p:nvPr>
            <p:ph type="body" sz="quarter" idx="15" hasCustomPrompt="1"/>
          </p:nvPr>
        </p:nvSpPr>
        <p:spPr>
          <a:xfrm>
            <a:off x="414980" y="2816932"/>
            <a:ext cx="7559675" cy="442035"/>
          </a:xfrm>
        </p:spPr>
        <p:txBody>
          <a:bodyPr lIns="72000" tIns="36000" rIns="72000" bIns="36000">
            <a:noAutofit/>
          </a:bodyPr>
          <a:lstStyle>
            <a:lvl1pPr>
              <a:defRPr sz="2400" b="1">
                <a:solidFill>
                  <a:schemeClr val="bg1"/>
                </a:solidFill>
              </a:defRPr>
            </a:lvl1pPr>
          </a:lstStyle>
          <a:p>
            <a:pPr lvl="0"/>
            <a:r>
              <a:rPr lang="en-US" dirty="0"/>
              <a:t>Subtitle of the chapter</a:t>
            </a:r>
          </a:p>
        </p:txBody>
      </p:sp>
      <p:sp>
        <p:nvSpPr>
          <p:cNvPr id="29" name="strTitle">
            <a:extLst>
              <a:ext uri="{FF2B5EF4-FFF2-40B4-BE49-F238E27FC236}">
                <a16:creationId xmlns:a16="http://schemas.microsoft.com/office/drawing/2014/main" id="{5FBD0ACA-1606-420F-B5B7-624E1DC92B9B}"/>
              </a:ext>
            </a:extLst>
          </p:cNvPr>
          <p:cNvSpPr>
            <a:spLocks noGrp="1"/>
          </p:cNvSpPr>
          <p:nvPr>
            <p:ph type="title" hasCustomPrompt="1"/>
          </p:nvPr>
        </p:nvSpPr>
        <p:spPr>
          <a:xfrm>
            <a:off x="414980" y="367200"/>
            <a:ext cx="7560000"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2" name="strSlideNumber">
            <a:extLst>
              <a:ext uri="{FF2B5EF4-FFF2-40B4-BE49-F238E27FC236}">
                <a16:creationId xmlns:a16="http://schemas.microsoft.com/office/drawing/2014/main" id="{3A84A220-3693-41A4-88AB-7A010CD4D1A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3" name="SlideNumberLine">
            <a:extLst>
              <a:ext uri="{FF2B5EF4-FFF2-40B4-BE49-F238E27FC236}">
                <a16:creationId xmlns:a16="http://schemas.microsoft.com/office/drawing/2014/main" id="{17E9A596-924C-46A8-BA12-73CDD87366FF}"/>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c)Ipsos">
            <a:extLst>
              <a:ext uri="{FF2B5EF4-FFF2-40B4-BE49-F238E27FC236}">
                <a16:creationId xmlns:a16="http://schemas.microsoft.com/office/drawing/2014/main" id="{5E264544-2D09-4BA6-91E1-2C807FB78DB5}"/>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7" name="IpsosLogo">
            <a:extLst>
              <a:ext uri="{FF2B5EF4-FFF2-40B4-BE49-F238E27FC236}">
                <a16:creationId xmlns:a16="http://schemas.microsoft.com/office/drawing/2014/main" id="{805C8D66-EF27-4796-BC27-5B7480F77E9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_Blue-Bg">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nvGrpSpPr>
          <p:cNvPr id="2" name="Angled stripes">
            <a:extLst>
              <a:ext uri="{FF2B5EF4-FFF2-40B4-BE49-F238E27FC236}">
                <a16:creationId xmlns:a16="http://schemas.microsoft.com/office/drawing/2014/main" id="{7891BCED-BC4C-4478-B2CE-F4ED2966AF97}"/>
              </a:ext>
            </a:extLst>
          </p:cNvPr>
          <p:cNvGrpSpPr/>
          <p:nvPr userDrawn="1"/>
        </p:nvGrpSpPr>
        <p:grpSpPr>
          <a:xfrm>
            <a:off x="3254052" y="0"/>
            <a:ext cx="8937948" cy="6858003"/>
            <a:chOff x="3254052" y="0"/>
            <a:chExt cx="8937948" cy="6858003"/>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strTitlePosition">
            <a:extLst>
              <a:ext uri="{FF2B5EF4-FFF2-40B4-BE49-F238E27FC236}">
                <a16:creationId xmlns:a16="http://schemas.microsoft.com/office/drawing/2014/main" id="{6B68833D-BA1A-4FF9-87AB-A73A651A5198}"/>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13" name="strChapterNumber">
            <a:extLst>
              <a:ext uri="{FF2B5EF4-FFF2-40B4-BE49-F238E27FC236}">
                <a16:creationId xmlns:a16="http://schemas.microsoft.com/office/drawing/2014/main" id="{AA76832A-09A4-49F3-A711-6D423B9CE365}"/>
              </a:ext>
            </a:extLst>
          </p:cNvPr>
          <p:cNvSpPr>
            <a:spLocks noGrp="1"/>
          </p:cNvSpPr>
          <p:nvPr>
            <p:ph type="body" sz="quarter" idx="15" hasCustomPrompt="1"/>
          </p:nvPr>
        </p:nvSpPr>
        <p:spPr>
          <a:xfrm>
            <a:off x="414980" y="4906800"/>
            <a:ext cx="7560000" cy="565146"/>
          </a:xfrm>
        </p:spPr>
        <p:txBody>
          <a:bodyPr lIns="72000" tIns="36000" rIns="72000" bIns="36000">
            <a:noAutofit/>
          </a:bodyPr>
          <a:lstStyle>
            <a:lvl1pPr>
              <a:defRPr sz="3200" b="1">
                <a:solidFill>
                  <a:schemeClr val="bg2"/>
                </a:solidFill>
              </a:defRPr>
            </a:lvl1pPr>
          </a:lstStyle>
          <a:p>
            <a:pPr lvl="0"/>
            <a:r>
              <a:rPr lang="en-US" dirty="0"/>
              <a:t>0. Chapter Title</a:t>
            </a:r>
          </a:p>
        </p:txBody>
      </p:sp>
      <p:sp>
        <p:nvSpPr>
          <p:cNvPr id="14" name="strSectionTitle">
            <a:extLst>
              <a:ext uri="{FF2B5EF4-FFF2-40B4-BE49-F238E27FC236}">
                <a16:creationId xmlns:a16="http://schemas.microsoft.com/office/drawing/2014/main" id="{00F25EF0-BD26-4B0D-9148-4756489A926A}"/>
              </a:ext>
            </a:extLst>
          </p:cNvPr>
          <p:cNvSpPr>
            <a:spLocks noGrp="1"/>
          </p:cNvSpPr>
          <p:nvPr>
            <p:ph type="title" hasCustomPrompt="1"/>
          </p:nvPr>
        </p:nvSpPr>
        <p:spPr>
          <a:xfrm>
            <a:off x="414980" y="368300"/>
            <a:ext cx="7560000"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1133029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section_Blue-Bg">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grpSp>
        <p:nvGrpSpPr>
          <p:cNvPr id="2" name="Angled stripes">
            <a:extLst>
              <a:ext uri="{FF2B5EF4-FFF2-40B4-BE49-F238E27FC236}">
                <a16:creationId xmlns:a16="http://schemas.microsoft.com/office/drawing/2014/main" id="{808C8F37-7B4A-4F6E-8E08-574B5CAE35DB}"/>
              </a:ext>
            </a:extLst>
          </p:cNvPr>
          <p:cNvGrpSpPr/>
          <p:nvPr userDrawn="1"/>
        </p:nvGrpSpPr>
        <p:grpSpPr>
          <a:xfrm>
            <a:off x="3254052" y="0"/>
            <a:ext cx="8937950" cy="6858002"/>
            <a:chOff x="3254052" y="0"/>
            <a:chExt cx="8937950" cy="6858002"/>
          </a:xfrm>
        </p:grpSpPr>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strTitlePosition">
            <a:extLst>
              <a:ext uri="{FF2B5EF4-FFF2-40B4-BE49-F238E27FC236}">
                <a16:creationId xmlns:a16="http://schemas.microsoft.com/office/drawing/2014/main" id="{36285B46-5600-4E26-B3B7-AB79912609E0}"/>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13" name="strSectionNumber">
            <a:extLst>
              <a:ext uri="{FF2B5EF4-FFF2-40B4-BE49-F238E27FC236}">
                <a16:creationId xmlns:a16="http://schemas.microsoft.com/office/drawing/2014/main" id="{C7E96A91-41DA-4A54-8987-91370802F2DC}"/>
              </a:ext>
            </a:extLst>
          </p:cNvPr>
          <p:cNvSpPr>
            <a:spLocks noGrp="1"/>
          </p:cNvSpPr>
          <p:nvPr>
            <p:ph type="body" sz="quarter" idx="15" hasCustomPrompt="1"/>
          </p:nvPr>
        </p:nvSpPr>
        <p:spPr>
          <a:xfrm>
            <a:off x="414980" y="3835800"/>
            <a:ext cx="7560000" cy="503590"/>
          </a:xfrm>
        </p:spPr>
        <p:txBody>
          <a:bodyPr lIns="72000" tIns="36000" rIns="72000" bIns="36000">
            <a:noAutofit/>
          </a:bodyPr>
          <a:lstStyle>
            <a:lvl1pPr>
              <a:defRPr sz="2800" b="1">
                <a:solidFill>
                  <a:schemeClr val="bg2"/>
                </a:solidFill>
              </a:defRPr>
            </a:lvl1pPr>
          </a:lstStyle>
          <a:p>
            <a:pPr lvl="0"/>
            <a:r>
              <a:rPr lang="en-US" noProof="0" dirty="0"/>
              <a:t>0.0 Section Title</a:t>
            </a:r>
          </a:p>
        </p:txBody>
      </p:sp>
      <p:sp>
        <p:nvSpPr>
          <p:cNvPr id="14" name="strSubsectionTitle">
            <a:extLst>
              <a:ext uri="{FF2B5EF4-FFF2-40B4-BE49-F238E27FC236}">
                <a16:creationId xmlns:a16="http://schemas.microsoft.com/office/drawing/2014/main" id="{91FC0F83-CA3E-4E78-8FC9-771F2150749D}"/>
              </a:ext>
            </a:extLst>
          </p:cNvPr>
          <p:cNvSpPr>
            <a:spLocks noGrp="1"/>
          </p:cNvSpPr>
          <p:nvPr>
            <p:ph type="title" hasCustomPrompt="1"/>
          </p:nvPr>
        </p:nvSpPr>
        <p:spPr>
          <a:xfrm>
            <a:off x="414980" y="367200"/>
            <a:ext cx="7560000"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95651411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_Teal-Bg">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58E352CC-E2DF-4CB8-9509-70258E90D1A3}"/>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257EC01D-610A-4C18-AA53-D21A858AE25C}"/>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D0D902F0-F2E2-41CA-BE3D-34200C5D79F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24" name="strTitlePosition">
            <a:extLst>
              <a:ext uri="{FF2B5EF4-FFF2-40B4-BE49-F238E27FC236}">
                <a16:creationId xmlns:a16="http://schemas.microsoft.com/office/drawing/2014/main" id="{51173469-C58F-420E-AF9C-901A27871364}"/>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25" name="strSubtitle">
            <a:extLst>
              <a:ext uri="{FF2B5EF4-FFF2-40B4-BE49-F238E27FC236}">
                <a16:creationId xmlns:a16="http://schemas.microsoft.com/office/drawing/2014/main" id="{B21909BA-29D4-47C6-9EDA-30C3B3ED50F3}"/>
              </a:ext>
            </a:extLst>
          </p:cNvPr>
          <p:cNvSpPr>
            <a:spLocks noGrp="1"/>
          </p:cNvSpPr>
          <p:nvPr>
            <p:ph type="body" sz="quarter" idx="15" hasCustomPrompt="1"/>
          </p:nvPr>
        </p:nvSpPr>
        <p:spPr>
          <a:xfrm>
            <a:off x="414980" y="2816932"/>
            <a:ext cx="7559675" cy="442035"/>
          </a:xfrm>
        </p:spPr>
        <p:txBody>
          <a:bodyPr lIns="72000" tIns="36000" rIns="72000" bIns="36000">
            <a:noAutofit/>
          </a:bodyPr>
          <a:lstStyle>
            <a:lvl1pPr>
              <a:defRPr sz="2400" b="1">
                <a:solidFill>
                  <a:schemeClr val="bg1"/>
                </a:solidFill>
              </a:defRPr>
            </a:lvl1pPr>
          </a:lstStyle>
          <a:p>
            <a:pPr lvl="0"/>
            <a:r>
              <a:rPr lang="en-US" dirty="0"/>
              <a:t>Subtitle of the chapter</a:t>
            </a:r>
          </a:p>
        </p:txBody>
      </p:sp>
      <p:sp>
        <p:nvSpPr>
          <p:cNvPr id="26" name="strTitle">
            <a:extLst>
              <a:ext uri="{FF2B5EF4-FFF2-40B4-BE49-F238E27FC236}">
                <a16:creationId xmlns:a16="http://schemas.microsoft.com/office/drawing/2014/main" id="{0BE174ED-C018-484D-8DC8-C016C9988858}"/>
              </a:ext>
            </a:extLst>
          </p:cNvPr>
          <p:cNvSpPr>
            <a:spLocks noGrp="1"/>
          </p:cNvSpPr>
          <p:nvPr>
            <p:ph type="title" hasCustomPrompt="1"/>
          </p:nvPr>
        </p:nvSpPr>
        <p:spPr>
          <a:xfrm>
            <a:off x="414980" y="367200"/>
            <a:ext cx="7560000"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2" name="strSlideNumber">
            <a:extLst>
              <a:ext uri="{FF2B5EF4-FFF2-40B4-BE49-F238E27FC236}">
                <a16:creationId xmlns:a16="http://schemas.microsoft.com/office/drawing/2014/main" id="{D7F64D87-2D1F-4B1D-8CC4-637E1704F85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3" name="SlideNumberLine">
            <a:extLst>
              <a:ext uri="{FF2B5EF4-FFF2-40B4-BE49-F238E27FC236}">
                <a16:creationId xmlns:a16="http://schemas.microsoft.com/office/drawing/2014/main" id="{A1DB0DDD-D253-438E-BB75-E7E43AB32182}"/>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c)Ipsos">
            <a:extLst>
              <a:ext uri="{FF2B5EF4-FFF2-40B4-BE49-F238E27FC236}">
                <a16:creationId xmlns:a16="http://schemas.microsoft.com/office/drawing/2014/main" id="{D4FEB7F0-6FF0-4AFB-91D2-6252CAD59B9E}"/>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7" name="IpsosLogo">
            <a:extLst>
              <a:ext uri="{FF2B5EF4-FFF2-40B4-BE49-F238E27FC236}">
                <a16:creationId xmlns:a16="http://schemas.microsoft.com/office/drawing/2014/main" id="{344B4AB7-FA02-49D7-AD38-EC71EE07ECB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_Teal-Bg">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nvGrpSpPr>
          <p:cNvPr id="2" name="Angled stripes">
            <a:extLst>
              <a:ext uri="{FF2B5EF4-FFF2-40B4-BE49-F238E27FC236}">
                <a16:creationId xmlns:a16="http://schemas.microsoft.com/office/drawing/2014/main" id="{48FC8C74-B00B-469F-B3A4-2262E8EFC6B8}"/>
              </a:ext>
            </a:extLst>
          </p:cNvPr>
          <p:cNvGrpSpPr/>
          <p:nvPr userDrawn="1"/>
        </p:nvGrpSpPr>
        <p:grpSpPr>
          <a:xfrm>
            <a:off x="3254052" y="0"/>
            <a:ext cx="8937948" cy="6858003"/>
            <a:chOff x="3254052" y="0"/>
            <a:chExt cx="8937948" cy="6858003"/>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strTitlePosition">
            <a:extLst>
              <a:ext uri="{FF2B5EF4-FFF2-40B4-BE49-F238E27FC236}">
                <a16:creationId xmlns:a16="http://schemas.microsoft.com/office/drawing/2014/main" id="{0E7C995A-E611-42F6-8CA1-577D16231078}"/>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13" name="strChapterNumber">
            <a:extLst>
              <a:ext uri="{FF2B5EF4-FFF2-40B4-BE49-F238E27FC236}">
                <a16:creationId xmlns:a16="http://schemas.microsoft.com/office/drawing/2014/main" id="{7F94FEC2-C22E-4D0C-AC3A-E51E78C5FBEE}"/>
              </a:ext>
            </a:extLst>
          </p:cNvPr>
          <p:cNvSpPr>
            <a:spLocks noGrp="1"/>
          </p:cNvSpPr>
          <p:nvPr>
            <p:ph type="body" sz="quarter" idx="15" hasCustomPrompt="1"/>
          </p:nvPr>
        </p:nvSpPr>
        <p:spPr>
          <a:xfrm>
            <a:off x="414980" y="4906800"/>
            <a:ext cx="7560000" cy="565146"/>
          </a:xfrm>
        </p:spPr>
        <p:txBody>
          <a:bodyPr lIns="72000" tIns="36000" rIns="72000" bIns="36000">
            <a:noAutofit/>
          </a:bodyPr>
          <a:lstStyle>
            <a:lvl1pPr>
              <a:defRPr sz="3200" b="1">
                <a:solidFill>
                  <a:schemeClr val="bg2"/>
                </a:solidFill>
              </a:defRPr>
            </a:lvl1pPr>
          </a:lstStyle>
          <a:p>
            <a:pPr lvl="0"/>
            <a:r>
              <a:rPr lang="en-US" dirty="0"/>
              <a:t>0. Chapter Title</a:t>
            </a:r>
          </a:p>
        </p:txBody>
      </p:sp>
      <p:sp>
        <p:nvSpPr>
          <p:cNvPr id="14" name="strSectionTitle">
            <a:extLst>
              <a:ext uri="{FF2B5EF4-FFF2-40B4-BE49-F238E27FC236}">
                <a16:creationId xmlns:a16="http://schemas.microsoft.com/office/drawing/2014/main" id="{DECAB2FD-1741-4CDF-8254-A2855589A252}"/>
              </a:ext>
            </a:extLst>
          </p:cNvPr>
          <p:cNvSpPr>
            <a:spLocks noGrp="1"/>
          </p:cNvSpPr>
          <p:nvPr>
            <p:ph type="title" hasCustomPrompt="1"/>
          </p:nvPr>
        </p:nvSpPr>
        <p:spPr>
          <a:xfrm>
            <a:off x="414980" y="368300"/>
            <a:ext cx="7560000"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92845281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section_Teal-Bg">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grpSp>
        <p:nvGrpSpPr>
          <p:cNvPr id="2" name="Angled stripes">
            <a:extLst>
              <a:ext uri="{FF2B5EF4-FFF2-40B4-BE49-F238E27FC236}">
                <a16:creationId xmlns:a16="http://schemas.microsoft.com/office/drawing/2014/main" id="{AD11ACB7-D7E9-4E70-B272-ED7975A7B345}"/>
              </a:ext>
            </a:extLst>
          </p:cNvPr>
          <p:cNvGrpSpPr/>
          <p:nvPr userDrawn="1"/>
        </p:nvGrpSpPr>
        <p:grpSpPr>
          <a:xfrm>
            <a:off x="3254052" y="0"/>
            <a:ext cx="8937950" cy="6858002"/>
            <a:chOff x="3254052" y="0"/>
            <a:chExt cx="8937950" cy="6858002"/>
          </a:xfrm>
        </p:grpSpPr>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strTitlePosition">
            <a:extLst>
              <a:ext uri="{FF2B5EF4-FFF2-40B4-BE49-F238E27FC236}">
                <a16:creationId xmlns:a16="http://schemas.microsoft.com/office/drawing/2014/main" id="{9E5F2631-1A67-45FB-9D5F-C1B85F6F1703}"/>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13" name="strSectionNumber">
            <a:extLst>
              <a:ext uri="{FF2B5EF4-FFF2-40B4-BE49-F238E27FC236}">
                <a16:creationId xmlns:a16="http://schemas.microsoft.com/office/drawing/2014/main" id="{5E0A03D7-4CE6-4B24-B270-42F2AD15F924}"/>
              </a:ext>
            </a:extLst>
          </p:cNvPr>
          <p:cNvSpPr>
            <a:spLocks noGrp="1"/>
          </p:cNvSpPr>
          <p:nvPr>
            <p:ph type="body" sz="quarter" idx="15" hasCustomPrompt="1"/>
          </p:nvPr>
        </p:nvSpPr>
        <p:spPr>
          <a:xfrm>
            <a:off x="414980" y="3835800"/>
            <a:ext cx="7560000" cy="503590"/>
          </a:xfrm>
        </p:spPr>
        <p:txBody>
          <a:bodyPr lIns="72000" tIns="36000" rIns="72000" bIns="36000">
            <a:noAutofit/>
          </a:bodyPr>
          <a:lstStyle>
            <a:lvl1pPr>
              <a:defRPr sz="2800" b="1">
                <a:solidFill>
                  <a:schemeClr val="bg2"/>
                </a:solidFill>
              </a:defRPr>
            </a:lvl1pPr>
          </a:lstStyle>
          <a:p>
            <a:pPr lvl="0"/>
            <a:r>
              <a:rPr lang="en-US" noProof="0" dirty="0"/>
              <a:t>0.0 Section Title</a:t>
            </a:r>
          </a:p>
        </p:txBody>
      </p:sp>
      <p:sp>
        <p:nvSpPr>
          <p:cNvPr id="14" name="strSubsectionTitle">
            <a:extLst>
              <a:ext uri="{FF2B5EF4-FFF2-40B4-BE49-F238E27FC236}">
                <a16:creationId xmlns:a16="http://schemas.microsoft.com/office/drawing/2014/main" id="{740C6601-A51E-41DD-9742-40A08ECE45E1}"/>
              </a:ext>
            </a:extLst>
          </p:cNvPr>
          <p:cNvSpPr>
            <a:spLocks noGrp="1"/>
          </p:cNvSpPr>
          <p:nvPr>
            <p:ph type="title" hasCustomPrompt="1"/>
          </p:nvPr>
        </p:nvSpPr>
        <p:spPr>
          <a:xfrm>
            <a:off x="414980" y="367200"/>
            <a:ext cx="7560000"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59433338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_Dark-Blue-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7BC2DA58-A64A-4949-B395-B06BC7F10FF1}"/>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909719A4-8170-41D4-B58A-C5B39528DF6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3AD54AD0-0FE8-4219-B7AE-A4436C30AAFB}"/>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24" name="strTitlePosition">
            <a:extLst>
              <a:ext uri="{FF2B5EF4-FFF2-40B4-BE49-F238E27FC236}">
                <a16:creationId xmlns:a16="http://schemas.microsoft.com/office/drawing/2014/main" id="{4122E2EB-07D9-4BF7-9127-4CD320EA517B}"/>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25" name="strSubtitle">
            <a:extLst>
              <a:ext uri="{FF2B5EF4-FFF2-40B4-BE49-F238E27FC236}">
                <a16:creationId xmlns:a16="http://schemas.microsoft.com/office/drawing/2014/main" id="{C0EBE7B4-9596-408B-BD57-FA4E032F3ECC}"/>
              </a:ext>
            </a:extLst>
          </p:cNvPr>
          <p:cNvSpPr>
            <a:spLocks noGrp="1"/>
          </p:cNvSpPr>
          <p:nvPr>
            <p:ph type="body" sz="quarter" idx="15" hasCustomPrompt="1"/>
          </p:nvPr>
        </p:nvSpPr>
        <p:spPr>
          <a:xfrm>
            <a:off x="414980" y="2816932"/>
            <a:ext cx="7559675" cy="442035"/>
          </a:xfrm>
        </p:spPr>
        <p:txBody>
          <a:bodyPr lIns="72000" tIns="36000" rIns="72000" bIns="36000">
            <a:noAutofit/>
          </a:bodyPr>
          <a:lstStyle>
            <a:lvl1pPr>
              <a:defRPr sz="2400" b="1">
                <a:solidFill>
                  <a:schemeClr val="bg1"/>
                </a:solidFill>
              </a:defRPr>
            </a:lvl1pPr>
          </a:lstStyle>
          <a:p>
            <a:pPr lvl="0"/>
            <a:r>
              <a:rPr lang="en-US" dirty="0"/>
              <a:t>Subtitle of the chapter</a:t>
            </a:r>
          </a:p>
        </p:txBody>
      </p:sp>
      <p:sp>
        <p:nvSpPr>
          <p:cNvPr id="26" name="strTitle">
            <a:extLst>
              <a:ext uri="{FF2B5EF4-FFF2-40B4-BE49-F238E27FC236}">
                <a16:creationId xmlns:a16="http://schemas.microsoft.com/office/drawing/2014/main" id="{4FEED339-C4C5-4C07-9DF0-F0B0C0606AFF}"/>
              </a:ext>
            </a:extLst>
          </p:cNvPr>
          <p:cNvSpPr>
            <a:spLocks noGrp="1"/>
          </p:cNvSpPr>
          <p:nvPr>
            <p:ph type="title" hasCustomPrompt="1"/>
          </p:nvPr>
        </p:nvSpPr>
        <p:spPr>
          <a:xfrm>
            <a:off x="414980" y="367200"/>
            <a:ext cx="7560000"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2" name="strSlideNumber">
            <a:extLst>
              <a:ext uri="{FF2B5EF4-FFF2-40B4-BE49-F238E27FC236}">
                <a16:creationId xmlns:a16="http://schemas.microsoft.com/office/drawing/2014/main" id="{B17FD762-7621-4D72-959C-E91D4446EEA0}"/>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3" name="SlideNumberLine">
            <a:extLst>
              <a:ext uri="{FF2B5EF4-FFF2-40B4-BE49-F238E27FC236}">
                <a16:creationId xmlns:a16="http://schemas.microsoft.com/office/drawing/2014/main" id="{10996193-67C6-4A16-A6B4-D99ED6613143}"/>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c)Ipsos">
            <a:extLst>
              <a:ext uri="{FF2B5EF4-FFF2-40B4-BE49-F238E27FC236}">
                <a16:creationId xmlns:a16="http://schemas.microsoft.com/office/drawing/2014/main" id="{A8922D2F-8FD8-433E-8F29-50AAC1C07F73}"/>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7" name="IpsosLogo">
            <a:extLst>
              <a:ext uri="{FF2B5EF4-FFF2-40B4-BE49-F238E27FC236}">
                <a16:creationId xmlns:a16="http://schemas.microsoft.com/office/drawing/2014/main" id="{B135815E-867D-4ACC-9BFC-2DB58D5D3E7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Photo">
    <p:bg>
      <p:bgPr>
        <a:solidFill>
          <a:schemeClr val="bg2"/>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C11655-880F-43AF-AA97-11A750EA2FF7}"/>
              </a:ext>
            </a:extLst>
          </p:cNvPr>
          <p:cNvSpPr/>
          <p:nvPr userDrawn="1"/>
        </p:nvSpPr>
        <p:spPr>
          <a:xfrm>
            <a:off x="407988" y="3812870"/>
            <a:ext cx="896937" cy="2016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 name="Rectangle 2">
            <a:extLst>
              <a:ext uri="{FF2B5EF4-FFF2-40B4-BE49-F238E27FC236}">
                <a16:creationId xmlns:a16="http://schemas.microsoft.com/office/drawing/2014/main" id="{38CE37B0-312D-4CA7-8F0F-248DA45AFA43}"/>
              </a:ext>
            </a:extLst>
          </p:cNvPr>
          <p:cNvSpPr/>
          <p:nvPr userDrawn="1"/>
        </p:nvSpPr>
        <p:spPr>
          <a:xfrm>
            <a:off x="7315200" y="4905375"/>
            <a:ext cx="4876800" cy="1952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2" name="Picture Placeholder">
            <a:extLst>
              <a:ext uri="{FF2B5EF4-FFF2-40B4-BE49-F238E27FC236}">
                <a16:creationId xmlns:a16="http://schemas.microsoft.com/office/drawing/2014/main" id="{CA3FC745-F193-4157-848D-3DCF42D82335}"/>
              </a:ext>
            </a:extLst>
          </p:cNvPr>
          <p:cNvSpPr>
            <a:spLocks noGrp="1"/>
          </p:cNvSpPr>
          <p:nvPr>
            <p:ph type="pic" sz="quarter" idx="13"/>
          </p:nvPr>
        </p:nvSpPr>
        <p:spPr>
          <a:xfrm>
            <a:off x="0" y="0"/>
            <a:ext cx="12192000" cy="6858000"/>
          </a:xfrm>
          <a:custGeom>
            <a:avLst/>
            <a:gdLst>
              <a:gd name="connsiteX0" fmla="*/ 9241634 w 12192000"/>
              <a:gd name="connsiteY0" fmla="*/ 5848905 h 6858000"/>
              <a:gd name="connsiteX1" fmla="*/ 9268904 w 12192000"/>
              <a:gd name="connsiteY1" fmla="*/ 5928225 h 6858000"/>
              <a:gd name="connsiteX2" fmla="*/ 9213492 w 12192000"/>
              <a:gd name="connsiteY2" fmla="*/ 5928225 h 6858000"/>
              <a:gd name="connsiteX3" fmla="*/ 8032300 w 12192000"/>
              <a:gd name="connsiteY3" fmla="*/ 5848905 h 6858000"/>
              <a:gd name="connsiteX4" fmla="*/ 8059570 w 12192000"/>
              <a:gd name="connsiteY4" fmla="*/ 5928225 h 6858000"/>
              <a:gd name="connsiteX5" fmla="*/ 8003536 w 12192000"/>
              <a:gd name="connsiteY5" fmla="*/ 5928225 h 6858000"/>
              <a:gd name="connsiteX6" fmla="*/ 10063464 w 12192000"/>
              <a:gd name="connsiteY6" fmla="*/ 5832591 h 6858000"/>
              <a:gd name="connsiteX7" fmla="*/ 10115389 w 12192000"/>
              <a:gd name="connsiteY7" fmla="*/ 5832591 h 6858000"/>
              <a:gd name="connsiteX8" fmla="*/ 10148137 w 12192000"/>
              <a:gd name="connsiteY8" fmla="*/ 5862602 h 6858000"/>
              <a:gd name="connsiteX9" fmla="*/ 10115389 w 12192000"/>
              <a:gd name="connsiteY9" fmla="*/ 5893483 h 6858000"/>
              <a:gd name="connsiteX10" fmla="*/ 10063464 w 12192000"/>
              <a:gd name="connsiteY10" fmla="*/ 5893483 h 6858000"/>
              <a:gd name="connsiteX11" fmla="*/ 10136682 w 12192000"/>
              <a:gd name="connsiteY11" fmla="*/ 5796232 h 6858000"/>
              <a:gd name="connsiteX12" fmla="*/ 10132448 w 12192000"/>
              <a:gd name="connsiteY12" fmla="*/ 5796356 h 6858000"/>
              <a:gd name="connsiteX13" fmla="*/ 10015897 w 12192000"/>
              <a:gd name="connsiteY13" fmla="*/ 5796356 h 6858000"/>
              <a:gd name="connsiteX14" fmla="*/ 10015897 w 12192000"/>
              <a:gd name="connsiteY14" fmla="*/ 6011653 h 6858000"/>
              <a:gd name="connsiteX15" fmla="*/ 10063464 w 12192000"/>
              <a:gd name="connsiteY15" fmla="*/ 6011653 h 6858000"/>
              <a:gd name="connsiteX16" fmla="*/ 10063464 w 12192000"/>
              <a:gd name="connsiteY16" fmla="*/ 5927352 h 6858000"/>
              <a:gd name="connsiteX17" fmla="*/ 10110906 w 12192000"/>
              <a:gd name="connsiteY17" fmla="*/ 5927352 h 6858000"/>
              <a:gd name="connsiteX18" fmla="*/ 10146891 w 12192000"/>
              <a:gd name="connsiteY18" fmla="*/ 5959976 h 6858000"/>
              <a:gd name="connsiteX19" fmla="*/ 10154487 w 12192000"/>
              <a:gd name="connsiteY19" fmla="*/ 6011653 h 6858000"/>
              <a:gd name="connsiteX20" fmla="*/ 10201929 w 12192000"/>
              <a:gd name="connsiteY20" fmla="*/ 6011653 h 6858000"/>
              <a:gd name="connsiteX21" fmla="*/ 10192840 w 12192000"/>
              <a:gd name="connsiteY21" fmla="*/ 5960599 h 6858000"/>
              <a:gd name="connsiteX22" fmla="*/ 10161460 w 12192000"/>
              <a:gd name="connsiteY22" fmla="*/ 5910044 h 6858000"/>
              <a:gd name="connsiteX23" fmla="*/ 10195579 w 12192000"/>
              <a:gd name="connsiteY23" fmla="*/ 5855878 h 6858000"/>
              <a:gd name="connsiteX24" fmla="*/ 10136682 w 12192000"/>
              <a:gd name="connsiteY24" fmla="*/ 5796232 h 6858000"/>
              <a:gd name="connsiteX25" fmla="*/ 9366154 w 12192000"/>
              <a:gd name="connsiteY25" fmla="*/ 5795735 h 6858000"/>
              <a:gd name="connsiteX26" fmla="*/ 9366154 w 12192000"/>
              <a:gd name="connsiteY26" fmla="*/ 6011653 h 6858000"/>
              <a:gd name="connsiteX27" fmla="*/ 9410608 w 12192000"/>
              <a:gd name="connsiteY27" fmla="*/ 6011653 h 6858000"/>
              <a:gd name="connsiteX28" fmla="*/ 9410608 w 12192000"/>
              <a:gd name="connsiteY28" fmla="*/ 5867084 h 6858000"/>
              <a:gd name="connsiteX29" fmla="*/ 9411230 w 12192000"/>
              <a:gd name="connsiteY29" fmla="*/ 5867084 h 6858000"/>
              <a:gd name="connsiteX30" fmla="*/ 9501134 w 12192000"/>
              <a:gd name="connsiteY30" fmla="*/ 6011653 h 6858000"/>
              <a:gd name="connsiteX31" fmla="*/ 9548576 w 12192000"/>
              <a:gd name="connsiteY31" fmla="*/ 6011653 h 6858000"/>
              <a:gd name="connsiteX32" fmla="*/ 9548576 w 12192000"/>
              <a:gd name="connsiteY32" fmla="*/ 5795735 h 6858000"/>
              <a:gd name="connsiteX33" fmla="*/ 9504122 w 12192000"/>
              <a:gd name="connsiteY33" fmla="*/ 5795735 h 6858000"/>
              <a:gd name="connsiteX34" fmla="*/ 9504122 w 12192000"/>
              <a:gd name="connsiteY34" fmla="*/ 5940552 h 6858000"/>
              <a:gd name="connsiteX35" fmla="*/ 9503500 w 12192000"/>
              <a:gd name="connsiteY35" fmla="*/ 5940552 h 6858000"/>
              <a:gd name="connsiteX36" fmla="*/ 9413346 w 12192000"/>
              <a:gd name="connsiteY36" fmla="*/ 5795735 h 6858000"/>
              <a:gd name="connsiteX37" fmla="*/ 8934569 w 12192000"/>
              <a:gd name="connsiteY37" fmla="*/ 5795735 h 6858000"/>
              <a:gd name="connsiteX38" fmla="*/ 8934942 w 12192000"/>
              <a:gd name="connsiteY38" fmla="*/ 6011653 h 6858000"/>
              <a:gd name="connsiteX39" fmla="*/ 8982510 w 12192000"/>
              <a:gd name="connsiteY39" fmla="*/ 6011653 h 6858000"/>
              <a:gd name="connsiteX40" fmla="*/ 8982510 w 12192000"/>
              <a:gd name="connsiteY40" fmla="*/ 5918511 h 6858000"/>
              <a:gd name="connsiteX41" fmla="*/ 9069672 w 12192000"/>
              <a:gd name="connsiteY41" fmla="*/ 5918511 h 6858000"/>
              <a:gd name="connsiteX42" fmla="*/ 9069672 w 12192000"/>
              <a:gd name="connsiteY42" fmla="*/ 6011653 h 6858000"/>
              <a:gd name="connsiteX43" fmla="*/ 9117115 w 12192000"/>
              <a:gd name="connsiteY43" fmla="*/ 6011653 h 6858000"/>
              <a:gd name="connsiteX44" fmla="*/ 9117115 w 12192000"/>
              <a:gd name="connsiteY44" fmla="*/ 5795735 h 6858000"/>
              <a:gd name="connsiteX45" fmla="*/ 9069672 w 12192000"/>
              <a:gd name="connsiteY45" fmla="*/ 5795735 h 6858000"/>
              <a:gd name="connsiteX46" fmla="*/ 9069672 w 12192000"/>
              <a:gd name="connsiteY46" fmla="*/ 5878540 h 6858000"/>
              <a:gd name="connsiteX47" fmla="*/ 8982510 w 12192000"/>
              <a:gd name="connsiteY47" fmla="*/ 5878540 h 6858000"/>
              <a:gd name="connsiteX48" fmla="*/ 8982510 w 12192000"/>
              <a:gd name="connsiteY48" fmla="*/ 5795735 h 6858000"/>
              <a:gd name="connsiteX49" fmla="*/ 8157193 w 12192000"/>
              <a:gd name="connsiteY49" fmla="*/ 5795735 h 6858000"/>
              <a:gd name="connsiteX50" fmla="*/ 8156820 w 12192000"/>
              <a:gd name="connsiteY50" fmla="*/ 6011653 h 6858000"/>
              <a:gd name="connsiteX51" fmla="*/ 8201274 w 12192000"/>
              <a:gd name="connsiteY51" fmla="*/ 6011653 h 6858000"/>
              <a:gd name="connsiteX52" fmla="*/ 8201274 w 12192000"/>
              <a:gd name="connsiteY52" fmla="*/ 5860110 h 6858000"/>
              <a:gd name="connsiteX53" fmla="*/ 8254194 w 12192000"/>
              <a:gd name="connsiteY53" fmla="*/ 6011653 h 6858000"/>
              <a:gd name="connsiteX54" fmla="*/ 8290804 w 12192000"/>
              <a:gd name="connsiteY54" fmla="*/ 6011653 h 6858000"/>
              <a:gd name="connsiteX55" fmla="*/ 8343848 w 12192000"/>
              <a:gd name="connsiteY55" fmla="*/ 5858617 h 6858000"/>
              <a:gd name="connsiteX56" fmla="*/ 8343848 w 12192000"/>
              <a:gd name="connsiteY56" fmla="*/ 6011653 h 6858000"/>
              <a:gd name="connsiteX57" fmla="*/ 8388302 w 12192000"/>
              <a:gd name="connsiteY57" fmla="*/ 6011653 h 6858000"/>
              <a:gd name="connsiteX58" fmla="*/ 8388302 w 12192000"/>
              <a:gd name="connsiteY58" fmla="*/ 5795735 h 6858000"/>
              <a:gd name="connsiteX59" fmla="*/ 8321559 w 12192000"/>
              <a:gd name="connsiteY59" fmla="*/ 5795735 h 6858000"/>
              <a:gd name="connsiteX60" fmla="*/ 8274616 w 12192000"/>
              <a:gd name="connsiteY60" fmla="*/ 5944287 h 6858000"/>
              <a:gd name="connsiteX61" fmla="*/ 8224061 w 12192000"/>
              <a:gd name="connsiteY61" fmla="*/ 5795735 h 6858000"/>
              <a:gd name="connsiteX62" fmla="*/ 8008019 w 12192000"/>
              <a:gd name="connsiteY62" fmla="*/ 5795735 h 6858000"/>
              <a:gd name="connsiteX63" fmla="*/ 7925961 w 12192000"/>
              <a:gd name="connsiteY63" fmla="*/ 6011653 h 6858000"/>
              <a:gd name="connsiteX64" fmla="*/ 7974024 w 12192000"/>
              <a:gd name="connsiteY64" fmla="*/ 6011653 h 6858000"/>
              <a:gd name="connsiteX65" fmla="*/ 7991085 w 12192000"/>
              <a:gd name="connsiteY65" fmla="*/ 5963214 h 6858000"/>
              <a:gd name="connsiteX66" fmla="*/ 8071897 w 12192000"/>
              <a:gd name="connsiteY66" fmla="*/ 5963214 h 6858000"/>
              <a:gd name="connsiteX67" fmla="*/ 8087836 w 12192000"/>
              <a:gd name="connsiteY67" fmla="*/ 6011653 h 6858000"/>
              <a:gd name="connsiteX68" fmla="*/ 8137644 w 12192000"/>
              <a:gd name="connsiteY68" fmla="*/ 6011653 h 6858000"/>
              <a:gd name="connsiteX69" fmla="*/ 8056705 w 12192000"/>
              <a:gd name="connsiteY69" fmla="*/ 5795735 h 6858000"/>
              <a:gd name="connsiteX70" fmla="*/ 9819530 w 12192000"/>
              <a:gd name="connsiteY70" fmla="*/ 5795360 h 6858000"/>
              <a:gd name="connsiteX71" fmla="*/ 9819904 w 12192000"/>
              <a:gd name="connsiteY71" fmla="*/ 6011653 h 6858000"/>
              <a:gd name="connsiteX72" fmla="*/ 9983896 w 12192000"/>
              <a:gd name="connsiteY72" fmla="*/ 6011653 h 6858000"/>
              <a:gd name="connsiteX73" fmla="*/ 9983896 w 12192000"/>
              <a:gd name="connsiteY73" fmla="*/ 5971806 h 6858000"/>
              <a:gd name="connsiteX74" fmla="*/ 9867470 w 12192000"/>
              <a:gd name="connsiteY74" fmla="*/ 5971806 h 6858000"/>
              <a:gd name="connsiteX75" fmla="*/ 9867470 w 12192000"/>
              <a:gd name="connsiteY75" fmla="*/ 5918884 h 6858000"/>
              <a:gd name="connsiteX76" fmla="*/ 9972066 w 12192000"/>
              <a:gd name="connsiteY76" fmla="*/ 5918884 h 6858000"/>
              <a:gd name="connsiteX77" fmla="*/ 9972066 w 12192000"/>
              <a:gd name="connsiteY77" fmla="*/ 5881529 h 6858000"/>
              <a:gd name="connsiteX78" fmla="*/ 9867470 w 12192000"/>
              <a:gd name="connsiteY78" fmla="*/ 5881529 h 6858000"/>
              <a:gd name="connsiteX79" fmla="*/ 9867470 w 12192000"/>
              <a:gd name="connsiteY79" fmla="*/ 5835206 h 6858000"/>
              <a:gd name="connsiteX80" fmla="*/ 9981405 w 12192000"/>
              <a:gd name="connsiteY80" fmla="*/ 5835206 h 6858000"/>
              <a:gd name="connsiteX81" fmla="*/ 9981405 w 12192000"/>
              <a:gd name="connsiteY81" fmla="*/ 5795360 h 6858000"/>
              <a:gd name="connsiteX82" fmla="*/ 9218473 w 12192000"/>
              <a:gd name="connsiteY82" fmla="*/ 5795360 h 6858000"/>
              <a:gd name="connsiteX83" fmla="*/ 9136167 w 12192000"/>
              <a:gd name="connsiteY83" fmla="*/ 6011653 h 6858000"/>
              <a:gd name="connsiteX84" fmla="*/ 9183608 w 12192000"/>
              <a:gd name="connsiteY84" fmla="*/ 6011653 h 6858000"/>
              <a:gd name="connsiteX85" fmla="*/ 9201041 w 12192000"/>
              <a:gd name="connsiteY85" fmla="*/ 5963214 h 6858000"/>
              <a:gd name="connsiteX86" fmla="*/ 9281854 w 12192000"/>
              <a:gd name="connsiteY86" fmla="*/ 5963214 h 6858000"/>
              <a:gd name="connsiteX87" fmla="*/ 9298166 w 12192000"/>
              <a:gd name="connsiteY87" fmla="*/ 6011279 h 6858000"/>
              <a:gd name="connsiteX88" fmla="*/ 9347974 w 12192000"/>
              <a:gd name="connsiteY88" fmla="*/ 6011279 h 6858000"/>
              <a:gd name="connsiteX89" fmla="*/ 9267161 w 12192000"/>
              <a:gd name="connsiteY89" fmla="*/ 5795360 h 6858000"/>
              <a:gd name="connsiteX90" fmla="*/ 8430389 w 12192000"/>
              <a:gd name="connsiteY90" fmla="*/ 5795360 h 6858000"/>
              <a:gd name="connsiteX91" fmla="*/ 8430763 w 12192000"/>
              <a:gd name="connsiteY91" fmla="*/ 6011653 h 6858000"/>
              <a:gd name="connsiteX92" fmla="*/ 8594631 w 12192000"/>
              <a:gd name="connsiteY92" fmla="*/ 6011653 h 6858000"/>
              <a:gd name="connsiteX93" fmla="*/ 8594631 w 12192000"/>
              <a:gd name="connsiteY93" fmla="*/ 5971806 h 6858000"/>
              <a:gd name="connsiteX94" fmla="*/ 8478205 w 12192000"/>
              <a:gd name="connsiteY94" fmla="*/ 5971806 h 6858000"/>
              <a:gd name="connsiteX95" fmla="*/ 8478205 w 12192000"/>
              <a:gd name="connsiteY95" fmla="*/ 5918884 h 6858000"/>
              <a:gd name="connsiteX96" fmla="*/ 8582925 w 12192000"/>
              <a:gd name="connsiteY96" fmla="*/ 5918884 h 6858000"/>
              <a:gd name="connsiteX97" fmla="*/ 8582925 w 12192000"/>
              <a:gd name="connsiteY97" fmla="*/ 5881529 h 6858000"/>
              <a:gd name="connsiteX98" fmla="*/ 8478205 w 12192000"/>
              <a:gd name="connsiteY98" fmla="*/ 5881529 h 6858000"/>
              <a:gd name="connsiteX99" fmla="*/ 8478205 w 12192000"/>
              <a:gd name="connsiteY99" fmla="*/ 5835206 h 6858000"/>
              <a:gd name="connsiteX100" fmla="*/ 8592264 w 12192000"/>
              <a:gd name="connsiteY100" fmla="*/ 5835206 h 6858000"/>
              <a:gd name="connsiteX101" fmla="*/ 8592264 w 12192000"/>
              <a:gd name="connsiteY101" fmla="*/ 5795360 h 6858000"/>
              <a:gd name="connsiteX102" fmla="*/ 9686916 w 12192000"/>
              <a:gd name="connsiteY102" fmla="*/ 5790505 h 6858000"/>
              <a:gd name="connsiteX103" fmla="*/ 9580701 w 12192000"/>
              <a:gd name="connsiteY103" fmla="*/ 5904564 h 6858000"/>
              <a:gd name="connsiteX104" fmla="*/ 9686916 w 12192000"/>
              <a:gd name="connsiteY104" fmla="*/ 6016634 h 6858000"/>
              <a:gd name="connsiteX105" fmla="*/ 9746188 w 12192000"/>
              <a:gd name="connsiteY105" fmla="*/ 5986873 h 6858000"/>
              <a:gd name="connsiteX106" fmla="*/ 9751293 w 12192000"/>
              <a:gd name="connsiteY106" fmla="*/ 6011653 h 6858000"/>
              <a:gd name="connsiteX107" fmla="*/ 9781303 w 12192000"/>
              <a:gd name="connsiteY107" fmla="*/ 6011653 h 6858000"/>
              <a:gd name="connsiteX108" fmla="*/ 9781303 w 12192000"/>
              <a:gd name="connsiteY108" fmla="*/ 5894976 h 6858000"/>
              <a:gd name="connsiteX109" fmla="*/ 9690528 w 12192000"/>
              <a:gd name="connsiteY109" fmla="*/ 5894976 h 6858000"/>
              <a:gd name="connsiteX110" fmla="*/ 9690528 w 12192000"/>
              <a:gd name="connsiteY110" fmla="*/ 5930341 h 6858000"/>
              <a:gd name="connsiteX111" fmla="*/ 9738343 w 12192000"/>
              <a:gd name="connsiteY111" fmla="*/ 5930341 h 6858000"/>
              <a:gd name="connsiteX112" fmla="*/ 9691499 w 12192000"/>
              <a:gd name="connsiteY112" fmla="*/ 5977135 h 6858000"/>
              <a:gd name="connsiteX113" fmla="*/ 9686916 w 12192000"/>
              <a:gd name="connsiteY113" fmla="*/ 5976911 h 6858000"/>
              <a:gd name="connsiteX114" fmla="*/ 9628143 w 12192000"/>
              <a:gd name="connsiteY114" fmla="*/ 5904564 h 6858000"/>
              <a:gd name="connsiteX115" fmla="*/ 9686916 w 12192000"/>
              <a:gd name="connsiteY115" fmla="*/ 5830475 h 6858000"/>
              <a:gd name="connsiteX116" fmla="*/ 9732616 w 12192000"/>
              <a:gd name="connsiteY116" fmla="*/ 5866836 h 6858000"/>
              <a:gd name="connsiteX117" fmla="*/ 9777940 w 12192000"/>
              <a:gd name="connsiteY117" fmla="*/ 5866836 h 6858000"/>
              <a:gd name="connsiteX118" fmla="*/ 9686916 w 12192000"/>
              <a:gd name="connsiteY118" fmla="*/ 5790505 h 6858000"/>
              <a:gd name="connsiteX119" fmla="*/ 8807683 w 12192000"/>
              <a:gd name="connsiteY119" fmla="*/ 5790505 h 6858000"/>
              <a:gd name="connsiteX120" fmla="*/ 8701468 w 12192000"/>
              <a:gd name="connsiteY120" fmla="*/ 5904564 h 6858000"/>
              <a:gd name="connsiteX121" fmla="*/ 8807683 w 12192000"/>
              <a:gd name="connsiteY121" fmla="*/ 6016634 h 6858000"/>
              <a:gd name="connsiteX122" fmla="*/ 8902568 w 12192000"/>
              <a:gd name="connsiteY122" fmla="*/ 5928225 h 6858000"/>
              <a:gd name="connsiteX123" fmla="*/ 8856620 w 12192000"/>
              <a:gd name="connsiteY123" fmla="*/ 5928225 h 6858000"/>
              <a:gd name="connsiteX124" fmla="*/ 8807683 w 12192000"/>
              <a:gd name="connsiteY124" fmla="*/ 5976662 h 6858000"/>
              <a:gd name="connsiteX125" fmla="*/ 8748910 w 12192000"/>
              <a:gd name="connsiteY125" fmla="*/ 5904317 h 6858000"/>
              <a:gd name="connsiteX126" fmla="*/ 8807683 w 12192000"/>
              <a:gd name="connsiteY126" fmla="*/ 5830226 h 6858000"/>
              <a:gd name="connsiteX127" fmla="*/ 8854752 w 12192000"/>
              <a:gd name="connsiteY127" fmla="*/ 5867582 h 6858000"/>
              <a:gd name="connsiteX128" fmla="*/ 8900825 w 12192000"/>
              <a:gd name="connsiteY128" fmla="*/ 5868329 h 6858000"/>
              <a:gd name="connsiteX129" fmla="*/ 8807683 w 12192000"/>
              <a:gd name="connsiteY129" fmla="*/ 5790505 h 6858000"/>
              <a:gd name="connsiteX130" fmla="*/ 7810034 w 12192000"/>
              <a:gd name="connsiteY130" fmla="*/ 5790505 h 6858000"/>
              <a:gd name="connsiteX131" fmla="*/ 7703818 w 12192000"/>
              <a:gd name="connsiteY131" fmla="*/ 5904564 h 6858000"/>
              <a:gd name="connsiteX132" fmla="*/ 7810034 w 12192000"/>
              <a:gd name="connsiteY132" fmla="*/ 6016634 h 6858000"/>
              <a:gd name="connsiteX133" fmla="*/ 7869304 w 12192000"/>
              <a:gd name="connsiteY133" fmla="*/ 5986873 h 6858000"/>
              <a:gd name="connsiteX134" fmla="*/ 7874285 w 12192000"/>
              <a:gd name="connsiteY134" fmla="*/ 6011653 h 6858000"/>
              <a:gd name="connsiteX135" fmla="*/ 7904543 w 12192000"/>
              <a:gd name="connsiteY135" fmla="*/ 6011653 h 6858000"/>
              <a:gd name="connsiteX136" fmla="*/ 7904543 w 12192000"/>
              <a:gd name="connsiteY136" fmla="*/ 5894976 h 6858000"/>
              <a:gd name="connsiteX137" fmla="*/ 7813893 w 12192000"/>
              <a:gd name="connsiteY137" fmla="*/ 5894976 h 6858000"/>
              <a:gd name="connsiteX138" fmla="*/ 7813893 w 12192000"/>
              <a:gd name="connsiteY138" fmla="*/ 5930341 h 6858000"/>
              <a:gd name="connsiteX139" fmla="*/ 7861708 w 12192000"/>
              <a:gd name="connsiteY139" fmla="*/ 5930341 h 6858000"/>
              <a:gd name="connsiteX140" fmla="*/ 7814867 w 12192000"/>
              <a:gd name="connsiteY140" fmla="*/ 5977135 h 6858000"/>
              <a:gd name="connsiteX141" fmla="*/ 7810281 w 12192000"/>
              <a:gd name="connsiteY141" fmla="*/ 5976911 h 6858000"/>
              <a:gd name="connsiteX142" fmla="*/ 7751634 w 12192000"/>
              <a:gd name="connsiteY142" fmla="*/ 5904564 h 6858000"/>
              <a:gd name="connsiteX143" fmla="*/ 7810281 w 12192000"/>
              <a:gd name="connsiteY143" fmla="*/ 5830475 h 6858000"/>
              <a:gd name="connsiteX144" fmla="*/ 7855981 w 12192000"/>
              <a:gd name="connsiteY144" fmla="*/ 5866836 h 6858000"/>
              <a:gd name="connsiteX145" fmla="*/ 7901057 w 12192000"/>
              <a:gd name="connsiteY145" fmla="*/ 5866836 h 6858000"/>
              <a:gd name="connsiteX146" fmla="*/ 7810034 w 12192000"/>
              <a:gd name="connsiteY146" fmla="*/ 5790505 h 6858000"/>
              <a:gd name="connsiteX147" fmla="*/ 10308768 w 12192000"/>
              <a:gd name="connsiteY147" fmla="*/ 5790131 h 6858000"/>
              <a:gd name="connsiteX148" fmla="*/ 10227955 w 12192000"/>
              <a:gd name="connsiteY148" fmla="*/ 5855505 h 6858000"/>
              <a:gd name="connsiteX149" fmla="*/ 10292332 w 12192000"/>
              <a:gd name="connsiteY149" fmla="*/ 5916892 h 6858000"/>
              <a:gd name="connsiteX150" fmla="*/ 10356583 w 12192000"/>
              <a:gd name="connsiteY150" fmla="*/ 5952630 h 6858000"/>
              <a:gd name="connsiteX151" fmla="*/ 10314495 w 12192000"/>
              <a:gd name="connsiteY151" fmla="*/ 5979526 h 6858000"/>
              <a:gd name="connsiteX152" fmla="*/ 10266680 w 12192000"/>
              <a:gd name="connsiteY152" fmla="*/ 5939680 h 6858000"/>
              <a:gd name="connsiteX153" fmla="*/ 10220732 w 12192000"/>
              <a:gd name="connsiteY153" fmla="*/ 5940053 h 6858000"/>
              <a:gd name="connsiteX154" fmla="*/ 10312628 w 12192000"/>
              <a:gd name="connsiteY154" fmla="*/ 6016883 h 6858000"/>
              <a:gd name="connsiteX155" fmla="*/ 10402532 w 12192000"/>
              <a:gd name="connsiteY155" fmla="*/ 5947525 h 6858000"/>
              <a:gd name="connsiteX156" fmla="*/ 10338403 w 12192000"/>
              <a:gd name="connsiteY156" fmla="*/ 5884641 h 6858000"/>
              <a:gd name="connsiteX157" fmla="*/ 10273902 w 12192000"/>
              <a:gd name="connsiteY157" fmla="*/ 5852017 h 6858000"/>
              <a:gd name="connsiteX158" fmla="*/ 10306651 w 12192000"/>
              <a:gd name="connsiteY158" fmla="*/ 5827113 h 6858000"/>
              <a:gd name="connsiteX159" fmla="*/ 10349236 w 12192000"/>
              <a:gd name="connsiteY159" fmla="*/ 5859737 h 6858000"/>
              <a:gd name="connsiteX160" fmla="*/ 10395184 w 12192000"/>
              <a:gd name="connsiteY160" fmla="*/ 5859737 h 6858000"/>
              <a:gd name="connsiteX161" fmla="*/ 10308768 w 12192000"/>
              <a:gd name="connsiteY161" fmla="*/ 5790131 h 6858000"/>
              <a:gd name="connsiteX162" fmla="*/ 10730261 w 12192000"/>
              <a:gd name="connsiteY162" fmla="*/ 5358931 h 6858000"/>
              <a:gd name="connsiteX163" fmla="*/ 10730261 w 12192000"/>
              <a:gd name="connsiteY163" fmla="*/ 6010827 h 6858000"/>
              <a:gd name="connsiteX164" fmla="*/ 10730261 w 12192000"/>
              <a:gd name="connsiteY164" fmla="*/ 6148387 h 6858000"/>
              <a:gd name="connsiteX165" fmla="*/ 11488607 w 12192000"/>
              <a:gd name="connsiteY165" fmla="*/ 6148387 h 6858000"/>
              <a:gd name="connsiteX166" fmla="*/ 11551819 w 12192000"/>
              <a:gd name="connsiteY166" fmla="*/ 5946883 h 6858000"/>
              <a:gd name="connsiteX167" fmla="*/ 11572315 w 12192000"/>
              <a:gd name="connsiteY167" fmla="*/ 5358931 h 6858000"/>
              <a:gd name="connsiteX168" fmla="*/ 10730261 w 12192000"/>
              <a:gd name="connsiteY168" fmla="*/ 5358931 h 6858000"/>
              <a:gd name="connsiteX169" fmla="*/ 492295 w 12192000"/>
              <a:gd name="connsiteY169" fmla="*/ 3931468 h 6858000"/>
              <a:gd name="connsiteX170" fmla="*/ 492295 w 12192000"/>
              <a:gd name="connsiteY170" fmla="*/ 3937818 h 6858000"/>
              <a:gd name="connsiteX171" fmla="*/ 1156255 w 12192000"/>
              <a:gd name="connsiteY171" fmla="*/ 3937818 h 6858000"/>
              <a:gd name="connsiteX172" fmla="*/ 1156255 w 12192000"/>
              <a:gd name="connsiteY172" fmla="*/ 3931468 h 6858000"/>
              <a:gd name="connsiteX173" fmla="*/ 0 w 12192000"/>
              <a:gd name="connsiteY173" fmla="*/ 0 h 6858000"/>
              <a:gd name="connsiteX174" fmla="*/ 12192000 w 12192000"/>
              <a:gd name="connsiteY174" fmla="*/ 0 h 6858000"/>
              <a:gd name="connsiteX175" fmla="*/ 12192000 w 12192000"/>
              <a:gd name="connsiteY175" fmla="*/ 6858000 h 6858000"/>
              <a:gd name="connsiteX176" fmla="*/ 0 w 12192000"/>
              <a:gd name="connsiteY176" fmla="*/ 6858000 h 6858000"/>
              <a:gd name="connsiteX177" fmla="*/ 0 w 12192000"/>
              <a:gd name="connsiteY177" fmla="*/ 3763147 h 6858000"/>
              <a:gd name="connsiteX178" fmla="*/ 3834808 w 12192000"/>
              <a:gd name="connsiteY178" fmla="*/ 1 h 6858000"/>
              <a:gd name="connsiteX179" fmla="*/ 3077457 w 12192000"/>
              <a:gd name="connsiteY179" fmla="*/ 1 h 6858000"/>
              <a:gd name="connsiteX180" fmla="*/ 0 w 12192000"/>
              <a:gd name="connsiteY180" fmla="*/ 3019948 h 6858000"/>
              <a:gd name="connsiteX181" fmla="*/ 0 w 12192000"/>
              <a:gd name="connsiteY181" fmla="*/ 2688191 h 6858000"/>
              <a:gd name="connsiteX182" fmla="*/ 2739382 w 12192000"/>
              <a:gd name="connsiteY182" fmla="*/ 1 h 6858000"/>
              <a:gd name="connsiteX183" fmla="*/ 1982031 w 12192000"/>
              <a:gd name="connsiteY183" fmla="*/ 1 h 6858000"/>
              <a:gd name="connsiteX184" fmla="*/ 0 w 12192000"/>
              <a:gd name="connsiteY184"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2192000" h="6858000">
                <a:moveTo>
                  <a:pt x="9241634" y="5848905"/>
                </a:moveTo>
                <a:lnTo>
                  <a:pt x="9268904" y="5928225"/>
                </a:lnTo>
                <a:lnTo>
                  <a:pt x="9213492" y="5928225"/>
                </a:lnTo>
                <a:close/>
                <a:moveTo>
                  <a:pt x="8032300" y="5848905"/>
                </a:moveTo>
                <a:lnTo>
                  <a:pt x="8059570" y="5928225"/>
                </a:lnTo>
                <a:lnTo>
                  <a:pt x="8003536" y="5928225"/>
                </a:lnTo>
                <a:close/>
                <a:moveTo>
                  <a:pt x="10063464" y="5832591"/>
                </a:moveTo>
                <a:lnTo>
                  <a:pt x="10115389" y="5832591"/>
                </a:lnTo>
                <a:cubicBezTo>
                  <a:pt x="10136682" y="5832591"/>
                  <a:pt x="10148137" y="5841682"/>
                  <a:pt x="10148137" y="5862602"/>
                </a:cubicBezTo>
                <a:cubicBezTo>
                  <a:pt x="10148137" y="5883521"/>
                  <a:pt x="10136682" y="5893483"/>
                  <a:pt x="10115389" y="5893483"/>
                </a:cubicBezTo>
                <a:lnTo>
                  <a:pt x="10063464" y="5893483"/>
                </a:lnTo>
                <a:close/>
                <a:moveTo>
                  <a:pt x="10136682" y="5796232"/>
                </a:moveTo>
                <a:cubicBezTo>
                  <a:pt x="10135274" y="5796220"/>
                  <a:pt x="10133855" y="5796270"/>
                  <a:pt x="10132448" y="5796356"/>
                </a:cubicBezTo>
                <a:lnTo>
                  <a:pt x="10015897" y="5796356"/>
                </a:lnTo>
                <a:lnTo>
                  <a:pt x="10015897" y="6011653"/>
                </a:lnTo>
                <a:lnTo>
                  <a:pt x="10063464" y="6011653"/>
                </a:lnTo>
                <a:lnTo>
                  <a:pt x="10063464" y="5927352"/>
                </a:lnTo>
                <a:lnTo>
                  <a:pt x="10110906" y="5927352"/>
                </a:lnTo>
                <a:cubicBezTo>
                  <a:pt x="10134813" y="5927352"/>
                  <a:pt x="10143529" y="5937314"/>
                  <a:pt x="10146891" y="5959976"/>
                </a:cubicBezTo>
                <a:cubicBezTo>
                  <a:pt x="10147514" y="5977435"/>
                  <a:pt x="10150055" y="5994756"/>
                  <a:pt x="10154487" y="6011653"/>
                </a:cubicBezTo>
                <a:lnTo>
                  <a:pt x="10201929" y="6011653"/>
                </a:lnTo>
                <a:cubicBezTo>
                  <a:pt x="10193463" y="5999200"/>
                  <a:pt x="10193836" y="5974296"/>
                  <a:pt x="10192840" y="5960599"/>
                </a:cubicBezTo>
                <a:cubicBezTo>
                  <a:pt x="10191345" y="5938807"/>
                  <a:pt x="10184747" y="5916145"/>
                  <a:pt x="10161460" y="5910044"/>
                </a:cubicBezTo>
                <a:cubicBezTo>
                  <a:pt x="10183675" y="5901664"/>
                  <a:pt x="10197609" y="5879536"/>
                  <a:pt x="10195579" y="5855878"/>
                </a:cubicBezTo>
                <a:cubicBezTo>
                  <a:pt x="10195791" y="5823141"/>
                  <a:pt x="10169418" y="5796444"/>
                  <a:pt x="10136682" y="5796232"/>
                </a:cubicBezTo>
                <a:close/>
                <a:moveTo>
                  <a:pt x="9366154" y="5795735"/>
                </a:moveTo>
                <a:lnTo>
                  <a:pt x="9366154" y="6011653"/>
                </a:lnTo>
                <a:lnTo>
                  <a:pt x="9410608" y="6011653"/>
                </a:lnTo>
                <a:lnTo>
                  <a:pt x="9410608" y="5867084"/>
                </a:lnTo>
                <a:lnTo>
                  <a:pt x="9411230" y="5867084"/>
                </a:lnTo>
                <a:lnTo>
                  <a:pt x="9501134" y="6011653"/>
                </a:lnTo>
                <a:lnTo>
                  <a:pt x="9548576" y="6011653"/>
                </a:lnTo>
                <a:lnTo>
                  <a:pt x="9548576" y="5795735"/>
                </a:lnTo>
                <a:lnTo>
                  <a:pt x="9504122" y="5795735"/>
                </a:lnTo>
                <a:lnTo>
                  <a:pt x="9504122" y="5940552"/>
                </a:lnTo>
                <a:lnTo>
                  <a:pt x="9503500" y="5940552"/>
                </a:lnTo>
                <a:lnTo>
                  <a:pt x="9413346" y="5795735"/>
                </a:lnTo>
                <a:close/>
                <a:moveTo>
                  <a:pt x="8934569" y="5795735"/>
                </a:moveTo>
                <a:lnTo>
                  <a:pt x="8934942" y="6011653"/>
                </a:lnTo>
                <a:lnTo>
                  <a:pt x="8982510" y="6011653"/>
                </a:lnTo>
                <a:lnTo>
                  <a:pt x="8982510" y="5918511"/>
                </a:lnTo>
                <a:lnTo>
                  <a:pt x="9069672" y="5918511"/>
                </a:lnTo>
                <a:lnTo>
                  <a:pt x="9069672" y="6011653"/>
                </a:lnTo>
                <a:lnTo>
                  <a:pt x="9117115" y="6011653"/>
                </a:lnTo>
                <a:lnTo>
                  <a:pt x="9117115" y="5795735"/>
                </a:lnTo>
                <a:lnTo>
                  <a:pt x="9069672" y="5795735"/>
                </a:lnTo>
                <a:lnTo>
                  <a:pt x="9069672" y="5878540"/>
                </a:lnTo>
                <a:lnTo>
                  <a:pt x="8982510" y="5878540"/>
                </a:lnTo>
                <a:lnTo>
                  <a:pt x="8982510" y="5795735"/>
                </a:lnTo>
                <a:close/>
                <a:moveTo>
                  <a:pt x="8157193" y="5795735"/>
                </a:moveTo>
                <a:lnTo>
                  <a:pt x="8156820" y="6011653"/>
                </a:lnTo>
                <a:lnTo>
                  <a:pt x="8201274" y="6011653"/>
                </a:lnTo>
                <a:lnTo>
                  <a:pt x="8201274" y="5860110"/>
                </a:lnTo>
                <a:lnTo>
                  <a:pt x="8254194" y="6011653"/>
                </a:lnTo>
                <a:lnTo>
                  <a:pt x="8290804" y="6011653"/>
                </a:lnTo>
                <a:lnTo>
                  <a:pt x="8343848" y="5858617"/>
                </a:lnTo>
                <a:lnTo>
                  <a:pt x="8343848" y="6011653"/>
                </a:lnTo>
                <a:lnTo>
                  <a:pt x="8388302" y="6011653"/>
                </a:lnTo>
                <a:lnTo>
                  <a:pt x="8388302" y="5795735"/>
                </a:lnTo>
                <a:lnTo>
                  <a:pt x="8321559" y="5795735"/>
                </a:lnTo>
                <a:lnTo>
                  <a:pt x="8274616" y="5944287"/>
                </a:lnTo>
                <a:lnTo>
                  <a:pt x="8224061" y="5795735"/>
                </a:lnTo>
                <a:close/>
                <a:moveTo>
                  <a:pt x="8008019" y="5795735"/>
                </a:moveTo>
                <a:lnTo>
                  <a:pt x="7925961" y="6011653"/>
                </a:lnTo>
                <a:lnTo>
                  <a:pt x="7974024" y="6011653"/>
                </a:lnTo>
                <a:lnTo>
                  <a:pt x="7991085" y="5963214"/>
                </a:lnTo>
                <a:lnTo>
                  <a:pt x="8071897" y="5963214"/>
                </a:lnTo>
                <a:lnTo>
                  <a:pt x="8087836" y="6011653"/>
                </a:lnTo>
                <a:lnTo>
                  <a:pt x="8137644" y="6011653"/>
                </a:lnTo>
                <a:lnTo>
                  <a:pt x="8056705" y="5795735"/>
                </a:lnTo>
                <a:close/>
                <a:moveTo>
                  <a:pt x="9819530" y="5795360"/>
                </a:moveTo>
                <a:lnTo>
                  <a:pt x="9819904" y="6011653"/>
                </a:lnTo>
                <a:lnTo>
                  <a:pt x="9983896" y="6011653"/>
                </a:lnTo>
                <a:lnTo>
                  <a:pt x="9983896" y="5971806"/>
                </a:lnTo>
                <a:lnTo>
                  <a:pt x="9867470" y="5971806"/>
                </a:lnTo>
                <a:lnTo>
                  <a:pt x="9867470" y="5918884"/>
                </a:lnTo>
                <a:lnTo>
                  <a:pt x="9972066" y="5918884"/>
                </a:lnTo>
                <a:lnTo>
                  <a:pt x="9972066" y="5881529"/>
                </a:lnTo>
                <a:lnTo>
                  <a:pt x="9867470" y="5881529"/>
                </a:lnTo>
                <a:lnTo>
                  <a:pt x="9867470" y="5835206"/>
                </a:lnTo>
                <a:lnTo>
                  <a:pt x="9981405" y="5835206"/>
                </a:lnTo>
                <a:lnTo>
                  <a:pt x="9981405" y="5795360"/>
                </a:lnTo>
                <a:close/>
                <a:moveTo>
                  <a:pt x="9218473" y="5795360"/>
                </a:moveTo>
                <a:lnTo>
                  <a:pt x="9136167" y="6011653"/>
                </a:lnTo>
                <a:lnTo>
                  <a:pt x="9183608" y="6011653"/>
                </a:lnTo>
                <a:lnTo>
                  <a:pt x="9201041" y="5963214"/>
                </a:lnTo>
                <a:lnTo>
                  <a:pt x="9281854" y="5963214"/>
                </a:lnTo>
                <a:lnTo>
                  <a:pt x="9298166" y="6011279"/>
                </a:lnTo>
                <a:lnTo>
                  <a:pt x="9347974" y="6011279"/>
                </a:lnTo>
                <a:lnTo>
                  <a:pt x="9267161" y="5795360"/>
                </a:lnTo>
                <a:close/>
                <a:moveTo>
                  <a:pt x="8430389" y="5795360"/>
                </a:moveTo>
                <a:lnTo>
                  <a:pt x="8430763" y="6011653"/>
                </a:lnTo>
                <a:lnTo>
                  <a:pt x="8594631" y="6011653"/>
                </a:lnTo>
                <a:lnTo>
                  <a:pt x="8594631" y="5971806"/>
                </a:lnTo>
                <a:lnTo>
                  <a:pt x="8478205" y="5971806"/>
                </a:lnTo>
                <a:lnTo>
                  <a:pt x="8478205" y="5918884"/>
                </a:lnTo>
                <a:lnTo>
                  <a:pt x="8582925" y="5918884"/>
                </a:lnTo>
                <a:lnTo>
                  <a:pt x="8582925" y="5881529"/>
                </a:lnTo>
                <a:lnTo>
                  <a:pt x="8478205" y="5881529"/>
                </a:lnTo>
                <a:lnTo>
                  <a:pt x="8478205" y="5835206"/>
                </a:lnTo>
                <a:lnTo>
                  <a:pt x="8592264" y="5835206"/>
                </a:lnTo>
                <a:lnTo>
                  <a:pt x="8592264" y="5795360"/>
                </a:lnTo>
                <a:close/>
                <a:moveTo>
                  <a:pt x="9686916" y="5790505"/>
                </a:moveTo>
                <a:cubicBezTo>
                  <a:pt x="9620050" y="5790505"/>
                  <a:pt x="9580701" y="5840313"/>
                  <a:pt x="9580701" y="5904564"/>
                </a:cubicBezTo>
                <a:cubicBezTo>
                  <a:pt x="9580701" y="5968818"/>
                  <a:pt x="9620050" y="6016634"/>
                  <a:pt x="9686916" y="6016634"/>
                </a:cubicBezTo>
                <a:cubicBezTo>
                  <a:pt x="9710289" y="6016745"/>
                  <a:pt x="9732316" y="6005688"/>
                  <a:pt x="9746188" y="5986873"/>
                </a:cubicBezTo>
                <a:lnTo>
                  <a:pt x="9751293" y="6011653"/>
                </a:lnTo>
                <a:lnTo>
                  <a:pt x="9781303" y="6011653"/>
                </a:lnTo>
                <a:lnTo>
                  <a:pt x="9781303" y="5894976"/>
                </a:lnTo>
                <a:lnTo>
                  <a:pt x="9690528" y="5894976"/>
                </a:lnTo>
                <a:lnTo>
                  <a:pt x="9690528" y="5930341"/>
                </a:lnTo>
                <a:lnTo>
                  <a:pt x="9738343" y="5930341"/>
                </a:lnTo>
                <a:cubicBezTo>
                  <a:pt x="9738330" y="5956203"/>
                  <a:pt x="9717362" y="5977148"/>
                  <a:pt x="9691499" y="5977135"/>
                </a:cubicBezTo>
                <a:cubicBezTo>
                  <a:pt x="9689968" y="5977135"/>
                  <a:pt x="9688436" y="5977060"/>
                  <a:pt x="9686916" y="5976911"/>
                </a:cubicBezTo>
                <a:cubicBezTo>
                  <a:pt x="9644207" y="5976911"/>
                  <a:pt x="9628143" y="5940552"/>
                  <a:pt x="9628143" y="5904564"/>
                </a:cubicBezTo>
                <a:cubicBezTo>
                  <a:pt x="9628143" y="5868579"/>
                  <a:pt x="9644207" y="5830475"/>
                  <a:pt x="9686916" y="5830475"/>
                </a:cubicBezTo>
                <a:cubicBezTo>
                  <a:pt x="9709094" y="5829491"/>
                  <a:pt x="9728593" y="5845006"/>
                  <a:pt x="9732616" y="5866836"/>
                </a:cubicBezTo>
                <a:lnTo>
                  <a:pt x="9777940" y="5866836"/>
                </a:lnTo>
                <a:cubicBezTo>
                  <a:pt x="9772835" y="5817774"/>
                  <a:pt x="9730997" y="5790505"/>
                  <a:pt x="9686916" y="5790505"/>
                </a:cubicBezTo>
                <a:close/>
                <a:moveTo>
                  <a:pt x="8807683" y="5790505"/>
                </a:moveTo>
                <a:cubicBezTo>
                  <a:pt x="8740817" y="5790505"/>
                  <a:pt x="8701468" y="5840313"/>
                  <a:pt x="8701468" y="5904564"/>
                </a:cubicBezTo>
                <a:cubicBezTo>
                  <a:pt x="8701468" y="5968818"/>
                  <a:pt x="8740817" y="6016634"/>
                  <a:pt x="8807683" y="6016634"/>
                </a:cubicBezTo>
                <a:cubicBezTo>
                  <a:pt x="8860605" y="6016634"/>
                  <a:pt x="8897711" y="5982141"/>
                  <a:pt x="8902568" y="5928225"/>
                </a:cubicBezTo>
                <a:lnTo>
                  <a:pt x="8856620" y="5928225"/>
                </a:lnTo>
                <a:cubicBezTo>
                  <a:pt x="8853009" y="5956738"/>
                  <a:pt x="8836697" y="5976662"/>
                  <a:pt x="8807683" y="5976662"/>
                </a:cubicBezTo>
                <a:cubicBezTo>
                  <a:pt x="8764974" y="5976662"/>
                  <a:pt x="8748910" y="5940302"/>
                  <a:pt x="8748910" y="5904317"/>
                </a:cubicBezTo>
                <a:cubicBezTo>
                  <a:pt x="8748910" y="5868329"/>
                  <a:pt x="8764974" y="5830226"/>
                  <a:pt x="8807683" y="5830226"/>
                </a:cubicBezTo>
                <a:cubicBezTo>
                  <a:pt x="8830383" y="5829542"/>
                  <a:pt x="8850269" y="5845319"/>
                  <a:pt x="8854752" y="5867582"/>
                </a:cubicBezTo>
                <a:lnTo>
                  <a:pt x="8900825" y="5868329"/>
                </a:lnTo>
                <a:cubicBezTo>
                  <a:pt x="8895097" y="5818521"/>
                  <a:pt x="8855126" y="5790505"/>
                  <a:pt x="8807683" y="5790505"/>
                </a:cubicBezTo>
                <a:close/>
                <a:moveTo>
                  <a:pt x="7810034" y="5790505"/>
                </a:moveTo>
                <a:cubicBezTo>
                  <a:pt x="7743166" y="5790505"/>
                  <a:pt x="7703818" y="5840313"/>
                  <a:pt x="7703818" y="5904564"/>
                </a:cubicBezTo>
                <a:cubicBezTo>
                  <a:pt x="7703818" y="5968818"/>
                  <a:pt x="7743166" y="6016634"/>
                  <a:pt x="7810034" y="6016634"/>
                </a:cubicBezTo>
                <a:cubicBezTo>
                  <a:pt x="7833417" y="6016783"/>
                  <a:pt x="7855458" y="6005713"/>
                  <a:pt x="7869304" y="5986873"/>
                </a:cubicBezTo>
                <a:lnTo>
                  <a:pt x="7874285" y="6011653"/>
                </a:lnTo>
                <a:lnTo>
                  <a:pt x="7904543" y="6011653"/>
                </a:lnTo>
                <a:lnTo>
                  <a:pt x="7904543" y="5894976"/>
                </a:lnTo>
                <a:lnTo>
                  <a:pt x="7813893" y="5894976"/>
                </a:lnTo>
                <a:lnTo>
                  <a:pt x="7813893" y="5930341"/>
                </a:lnTo>
                <a:lnTo>
                  <a:pt x="7861708" y="5930341"/>
                </a:lnTo>
                <a:cubicBezTo>
                  <a:pt x="7861696" y="5956203"/>
                  <a:pt x="7840725" y="5977148"/>
                  <a:pt x="7814867" y="5977135"/>
                </a:cubicBezTo>
                <a:cubicBezTo>
                  <a:pt x="7813336" y="5977135"/>
                  <a:pt x="7811806" y="5977060"/>
                  <a:pt x="7810281" y="5976911"/>
                </a:cubicBezTo>
                <a:cubicBezTo>
                  <a:pt x="7767572" y="5976911"/>
                  <a:pt x="7751634" y="5940552"/>
                  <a:pt x="7751634" y="5904564"/>
                </a:cubicBezTo>
                <a:cubicBezTo>
                  <a:pt x="7751634" y="5868579"/>
                  <a:pt x="7767572" y="5830475"/>
                  <a:pt x="7810281" y="5830475"/>
                </a:cubicBezTo>
                <a:cubicBezTo>
                  <a:pt x="7832474" y="5829429"/>
                  <a:pt x="7852012" y="5844981"/>
                  <a:pt x="7855981" y="5866836"/>
                </a:cubicBezTo>
                <a:lnTo>
                  <a:pt x="7901057" y="5866836"/>
                </a:lnTo>
                <a:cubicBezTo>
                  <a:pt x="7895951" y="5817774"/>
                  <a:pt x="7854238" y="5790505"/>
                  <a:pt x="7810034" y="5790505"/>
                </a:cubicBezTo>
                <a:close/>
                <a:moveTo>
                  <a:pt x="10308768" y="5790131"/>
                </a:moveTo>
                <a:cubicBezTo>
                  <a:pt x="10269668" y="5790131"/>
                  <a:pt x="10227955" y="5811424"/>
                  <a:pt x="10227955" y="5855505"/>
                </a:cubicBezTo>
                <a:cubicBezTo>
                  <a:pt x="10227955" y="5896098"/>
                  <a:pt x="10260329" y="5908425"/>
                  <a:pt x="10292332" y="5916892"/>
                </a:cubicBezTo>
                <a:cubicBezTo>
                  <a:pt x="10324332" y="5925360"/>
                  <a:pt x="10356583" y="5929345"/>
                  <a:pt x="10356583" y="5952630"/>
                </a:cubicBezTo>
                <a:cubicBezTo>
                  <a:pt x="10356583" y="5975915"/>
                  <a:pt x="10331056" y="5979526"/>
                  <a:pt x="10314495" y="5979526"/>
                </a:cubicBezTo>
                <a:cubicBezTo>
                  <a:pt x="10289591" y="5979526"/>
                  <a:pt x="10266680" y="5968319"/>
                  <a:pt x="10266680" y="5939680"/>
                </a:cubicBezTo>
                <a:lnTo>
                  <a:pt x="10220732" y="5940053"/>
                </a:lnTo>
                <a:cubicBezTo>
                  <a:pt x="10220110" y="5993223"/>
                  <a:pt x="10264812" y="6016883"/>
                  <a:pt x="10312628" y="6016883"/>
                </a:cubicBezTo>
                <a:cubicBezTo>
                  <a:pt x="10371401" y="6016883"/>
                  <a:pt x="10402532" y="5987122"/>
                  <a:pt x="10402532" y="5947525"/>
                </a:cubicBezTo>
                <a:cubicBezTo>
                  <a:pt x="10402532" y="5898587"/>
                  <a:pt x="10354093" y="5888626"/>
                  <a:pt x="10338403" y="5884641"/>
                </a:cubicBezTo>
                <a:cubicBezTo>
                  <a:pt x="10284237" y="5870695"/>
                  <a:pt x="10273902" y="5868579"/>
                  <a:pt x="10273902" y="5852017"/>
                </a:cubicBezTo>
                <a:cubicBezTo>
                  <a:pt x="10273902" y="5835456"/>
                  <a:pt x="10291459" y="5827113"/>
                  <a:pt x="10306651" y="5827113"/>
                </a:cubicBezTo>
                <a:cubicBezTo>
                  <a:pt x="10329313" y="5827113"/>
                  <a:pt x="10347742" y="5833713"/>
                  <a:pt x="10349236" y="5859737"/>
                </a:cubicBezTo>
                <a:lnTo>
                  <a:pt x="10395184" y="5859737"/>
                </a:lnTo>
                <a:cubicBezTo>
                  <a:pt x="10395184" y="5809929"/>
                  <a:pt x="10353844" y="5790131"/>
                  <a:pt x="10308768" y="5790131"/>
                </a:cubicBezTo>
                <a:close/>
                <a:moveTo>
                  <a:pt x="10730261" y="5358931"/>
                </a:moveTo>
                <a:cubicBezTo>
                  <a:pt x="10730261" y="5358931"/>
                  <a:pt x="10730261" y="5358931"/>
                  <a:pt x="10730261" y="6010827"/>
                </a:cubicBezTo>
                <a:lnTo>
                  <a:pt x="10730261" y="6148387"/>
                </a:lnTo>
                <a:lnTo>
                  <a:pt x="11488607" y="6148387"/>
                </a:lnTo>
                <a:lnTo>
                  <a:pt x="11551819" y="5946883"/>
                </a:lnTo>
                <a:cubicBezTo>
                  <a:pt x="11599433" y="5747310"/>
                  <a:pt x="11600551" y="5556815"/>
                  <a:pt x="11572315" y="5358931"/>
                </a:cubicBezTo>
                <a:cubicBezTo>
                  <a:pt x="11572315" y="5358931"/>
                  <a:pt x="11572315" y="5358931"/>
                  <a:pt x="10730261" y="5358931"/>
                </a:cubicBezTo>
                <a:close/>
                <a:moveTo>
                  <a:pt x="492295" y="3931468"/>
                </a:moveTo>
                <a:lnTo>
                  <a:pt x="492295" y="3937818"/>
                </a:lnTo>
                <a:lnTo>
                  <a:pt x="1156255" y="3937818"/>
                </a:lnTo>
                <a:lnTo>
                  <a:pt x="1156255" y="3931468"/>
                </a:lnTo>
                <a:close/>
                <a:moveTo>
                  <a:pt x="0" y="0"/>
                </a:moveTo>
                <a:lnTo>
                  <a:pt x="12192000" y="0"/>
                </a:lnTo>
                <a:lnTo>
                  <a:pt x="12192000"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4" name="strTitle">
            <a:extLst>
              <a:ext uri="{FF2B5EF4-FFF2-40B4-BE49-F238E27FC236}">
                <a16:creationId xmlns:a16="http://schemas.microsoft.com/office/drawing/2014/main" id="{282677E1-E7D7-461C-9F6D-B1708372F571}"/>
              </a:ext>
            </a:extLst>
          </p:cNvPr>
          <p:cNvSpPr>
            <a:spLocks noGrp="1"/>
          </p:cNvSpPr>
          <p:nvPr>
            <p:ph type="ctrTitle" hasCustomPrompt="1"/>
          </p:nvPr>
        </p:nvSpPr>
        <p:spPr>
          <a:xfrm>
            <a:off x="407988" y="521852"/>
            <a:ext cx="7551997" cy="2475348"/>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13" name="strSubtitle">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0798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26" name="strDate">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0798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sp>
        <p:nvSpPr>
          <p:cNvPr id="40" name="H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cxnSp>
        <p:nvCxnSpPr>
          <p:cNvPr id="15" name="Hline">
            <a:extLst>
              <a:ext uri="{FF2B5EF4-FFF2-40B4-BE49-F238E27FC236}">
                <a16:creationId xmlns:a16="http://schemas.microsoft.com/office/drawing/2014/main" id="{CED59184-1FCB-491C-B108-0C922F0CD544}"/>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Game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pic>
        <p:nvPicPr>
          <p:cNvPr id="18" name="IpsosLogo">
            <a:extLst>
              <a:ext uri="{FF2B5EF4-FFF2-40B4-BE49-F238E27FC236}">
                <a16:creationId xmlns:a16="http://schemas.microsoft.com/office/drawing/2014/main" id="{F6B28205-A4BA-4684-BCF0-CEAB02D80DD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813527460"/>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_Dark-Blue-Bg">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nvGrpSpPr>
          <p:cNvPr id="2" name="Angled stripes">
            <a:extLst>
              <a:ext uri="{FF2B5EF4-FFF2-40B4-BE49-F238E27FC236}">
                <a16:creationId xmlns:a16="http://schemas.microsoft.com/office/drawing/2014/main" id="{D4DD2341-03AE-4D99-9E8D-8FC623C0CCCD}"/>
              </a:ext>
            </a:extLst>
          </p:cNvPr>
          <p:cNvGrpSpPr/>
          <p:nvPr userDrawn="1"/>
        </p:nvGrpSpPr>
        <p:grpSpPr>
          <a:xfrm>
            <a:off x="3254052" y="0"/>
            <a:ext cx="8937948" cy="6858003"/>
            <a:chOff x="3254052" y="0"/>
            <a:chExt cx="8937948" cy="6858003"/>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strTitlePosition">
            <a:extLst>
              <a:ext uri="{FF2B5EF4-FFF2-40B4-BE49-F238E27FC236}">
                <a16:creationId xmlns:a16="http://schemas.microsoft.com/office/drawing/2014/main" id="{E95708A0-0027-4048-8241-E51061C04B9B}"/>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13" name="strChapterNumber">
            <a:extLst>
              <a:ext uri="{FF2B5EF4-FFF2-40B4-BE49-F238E27FC236}">
                <a16:creationId xmlns:a16="http://schemas.microsoft.com/office/drawing/2014/main" id="{AFA44B79-5E74-477D-B5E8-EEF433AB29A3}"/>
              </a:ext>
            </a:extLst>
          </p:cNvPr>
          <p:cNvSpPr>
            <a:spLocks noGrp="1"/>
          </p:cNvSpPr>
          <p:nvPr>
            <p:ph type="body" sz="quarter" idx="15" hasCustomPrompt="1"/>
          </p:nvPr>
        </p:nvSpPr>
        <p:spPr>
          <a:xfrm>
            <a:off x="414980" y="4906800"/>
            <a:ext cx="7560000" cy="565146"/>
          </a:xfrm>
        </p:spPr>
        <p:txBody>
          <a:bodyPr lIns="72000" tIns="36000" rIns="72000" bIns="36000">
            <a:noAutofit/>
          </a:bodyPr>
          <a:lstStyle>
            <a:lvl1pPr>
              <a:defRPr sz="3200" b="1">
                <a:solidFill>
                  <a:schemeClr val="bg2"/>
                </a:solidFill>
              </a:defRPr>
            </a:lvl1pPr>
          </a:lstStyle>
          <a:p>
            <a:pPr lvl="0"/>
            <a:r>
              <a:rPr lang="en-US" dirty="0"/>
              <a:t>0. Chapter Title</a:t>
            </a:r>
          </a:p>
        </p:txBody>
      </p:sp>
      <p:sp>
        <p:nvSpPr>
          <p:cNvPr id="14" name="strSectionTitle">
            <a:extLst>
              <a:ext uri="{FF2B5EF4-FFF2-40B4-BE49-F238E27FC236}">
                <a16:creationId xmlns:a16="http://schemas.microsoft.com/office/drawing/2014/main" id="{08E4FC10-F3DF-40BB-8ADC-CEC2B816BE68}"/>
              </a:ext>
            </a:extLst>
          </p:cNvPr>
          <p:cNvSpPr>
            <a:spLocks noGrp="1"/>
          </p:cNvSpPr>
          <p:nvPr>
            <p:ph type="title" hasCustomPrompt="1"/>
          </p:nvPr>
        </p:nvSpPr>
        <p:spPr>
          <a:xfrm>
            <a:off x="414980" y="368300"/>
            <a:ext cx="7560000"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03105419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section_Dark-Blue-Bg">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grpSp>
        <p:nvGrpSpPr>
          <p:cNvPr id="2" name="Angled stripes">
            <a:extLst>
              <a:ext uri="{FF2B5EF4-FFF2-40B4-BE49-F238E27FC236}">
                <a16:creationId xmlns:a16="http://schemas.microsoft.com/office/drawing/2014/main" id="{918BFD60-E9EF-4A3B-A687-2F0E970FBD10}"/>
              </a:ext>
            </a:extLst>
          </p:cNvPr>
          <p:cNvGrpSpPr/>
          <p:nvPr userDrawn="1"/>
        </p:nvGrpSpPr>
        <p:grpSpPr>
          <a:xfrm>
            <a:off x="3254052" y="0"/>
            <a:ext cx="8937950" cy="6858002"/>
            <a:chOff x="3254052" y="0"/>
            <a:chExt cx="8937950" cy="6858002"/>
          </a:xfrm>
        </p:grpSpPr>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strTitlePosition">
            <a:extLst>
              <a:ext uri="{FF2B5EF4-FFF2-40B4-BE49-F238E27FC236}">
                <a16:creationId xmlns:a16="http://schemas.microsoft.com/office/drawing/2014/main" id="{AB6FD132-AE12-400C-85DF-D437D7507D9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13" name="strSectionNumber">
            <a:extLst>
              <a:ext uri="{FF2B5EF4-FFF2-40B4-BE49-F238E27FC236}">
                <a16:creationId xmlns:a16="http://schemas.microsoft.com/office/drawing/2014/main" id="{57520402-D6A4-425C-83E3-A6C5E9C3C610}"/>
              </a:ext>
            </a:extLst>
          </p:cNvPr>
          <p:cNvSpPr>
            <a:spLocks noGrp="1"/>
          </p:cNvSpPr>
          <p:nvPr>
            <p:ph type="body" sz="quarter" idx="15" hasCustomPrompt="1"/>
          </p:nvPr>
        </p:nvSpPr>
        <p:spPr>
          <a:xfrm>
            <a:off x="414980" y="3835800"/>
            <a:ext cx="7560000" cy="503590"/>
          </a:xfrm>
        </p:spPr>
        <p:txBody>
          <a:bodyPr lIns="72000" tIns="36000" rIns="72000" bIns="36000">
            <a:noAutofit/>
          </a:bodyPr>
          <a:lstStyle>
            <a:lvl1pPr>
              <a:defRPr sz="2800" b="1">
                <a:solidFill>
                  <a:schemeClr val="bg2"/>
                </a:solidFill>
              </a:defRPr>
            </a:lvl1pPr>
          </a:lstStyle>
          <a:p>
            <a:pPr lvl="0"/>
            <a:r>
              <a:rPr lang="en-US" noProof="0" dirty="0"/>
              <a:t>0.0 Section Title</a:t>
            </a:r>
          </a:p>
        </p:txBody>
      </p:sp>
      <p:sp>
        <p:nvSpPr>
          <p:cNvPr id="14" name="strSubsectionTitle">
            <a:extLst>
              <a:ext uri="{FF2B5EF4-FFF2-40B4-BE49-F238E27FC236}">
                <a16:creationId xmlns:a16="http://schemas.microsoft.com/office/drawing/2014/main" id="{4278F4A5-DA1A-404A-AE13-B88B7BB699A5}"/>
              </a:ext>
            </a:extLst>
          </p:cNvPr>
          <p:cNvSpPr>
            <a:spLocks noGrp="1"/>
          </p:cNvSpPr>
          <p:nvPr>
            <p:ph type="title" hasCustomPrompt="1"/>
          </p:nvPr>
        </p:nvSpPr>
        <p:spPr>
          <a:xfrm>
            <a:off x="414980" y="367200"/>
            <a:ext cx="7560000"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1342323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hapter_Purple-Bg">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A0FD9A31-3B57-4E64-9A25-74C1F66819BC}"/>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0ECAA9D5-D309-43D3-917A-9B4F3AF3E50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6" name="Angled stripe 2">
              <a:extLst>
                <a:ext uri="{FF2B5EF4-FFF2-40B4-BE49-F238E27FC236}">
                  <a16:creationId xmlns:a16="http://schemas.microsoft.com/office/drawing/2014/main" id="{DE3686A9-EBE0-4639-9051-31EC987AA07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21" name="strTitlePosition">
            <a:extLst>
              <a:ext uri="{FF2B5EF4-FFF2-40B4-BE49-F238E27FC236}">
                <a16:creationId xmlns:a16="http://schemas.microsoft.com/office/drawing/2014/main" id="{D4500D17-E284-4CCC-ABF0-4572C709B847}"/>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22" name="strSubtitle">
            <a:extLst>
              <a:ext uri="{FF2B5EF4-FFF2-40B4-BE49-F238E27FC236}">
                <a16:creationId xmlns:a16="http://schemas.microsoft.com/office/drawing/2014/main" id="{27685621-15E3-441D-AA90-BC516C8CF041}"/>
              </a:ext>
            </a:extLst>
          </p:cNvPr>
          <p:cNvSpPr>
            <a:spLocks noGrp="1"/>
          </p:cNvSpPr>
          <p:nvPr>
            <p:ph type="body" sz="quarter" idx="15" hasCustomPrompt="1"/>
          </p:nvPr>
        </p:nvSpPr>
        <p:spPr>
          <a:xfrm>
            <a:off x="414980" y="2816932"/>
            <a:ext cx="7559675" cy="442035"/>
          </a:xfrm>
        </p:spPr>
        <p:txBody>
          <a:bodyPr lIns="72000" tIns="36000" rIns="72000" bIns="36000">
            <a:noAutofit/>
          </a:bodyPr>
          <a:lstStyle>
            <a:lvl1pPr>
              <a:defRPr sz="2400" b="1">
                <a:solidFill>
                  <a:schemeClr val="bg1"/>
                </a:solidFill>
              </a:defRPr>
            </a:lvl1pPr>
          </a:lstStyle>
          <a:p>
            <a:pPr lvl="0"/>
            <a:r>
              <a:rPr lang="en-US" dirty="0"/>
              <a:t>Subtitle of the chapter</a:t>
            </a:r>
          </a:p>
        </p:txBody>
      </p:sp>
      <p:sp>
        <p:nvSpPr>
          <p:cNvPr id="23" name="strTitle">
            <a:extLst>
              <a:ext uri="{FF2B5EF4-FFF2-40B4-BE49-F238E27FC236}">
                <a16:creationId xmlns:a16="http://schemas.microsoft.com/office/drawing/2014/main" id="{1C5E4F92-E717-4DA5-B788-BAAD889335B4}"/>
              </a:ext>
            </a:extLst>
          </p:cNvPr>
          <p:cNvSpPr>
            <a:spLocks noGrp="1"/>
          </p:cNvSpPr>
          <p:nvPr>
            <p:ph type="title" hasCustomPrompt="1"/>
          </p:nvPr>
        </p:nvSpPr>
        <p:spPr>
          <a:xfrm>
            <a:off x="414980" y="367200"/>
            <a:ext cx="7560000"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2" name="strSlideNumber">
            <a:extLst>
              <a:ext uri="{FF2B5EF4-FFF2-40B4-BE49-F238E27FC236}">
                <a16:creationId xmlns:a16="http://schemas.microsoft.com/office/drawing/2014/main" id="{52670095-27C6-473E-A80D-301F4F557DE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3" name="SlideNumberLine">
            <a:extLst>
              <a:ext uri="{FF2B5EF4-FFF2-40B4-BE49-F238E27FC236}">
                <a16:creationId xmlns:a16="http://schemas.microsoft.com/office/drawing/2014/main" id="{46869557-FE3B-4D53-AEC0-D1C54FE859FD}"/>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c)Ipsos">
            <a:extLst>
              <a:ext uri="{FF2B5EF4-FFF2-40B4-BE49-F238E27FC236}">
                <a16:creationId xmlns:a16="http://schemas.microsoft.com/office/drawing/2014/main" id="{73BF93DC-495A-4FF9-91BC-0E2F2A33D20E}"/>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7" name="IpsosLogo">
            <a:extLst>
              <a:ext uri="{FF2B5EF4-FFF2-40B4-BE49-F238E27FC236}">
                <a16:creationId xmlns:a16="http://schemas.microsoft.com/office/drawing/2014/main" id="{63BC70AF-8E40-45DA-B738-CB05E1E07B9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_Purple-Bg">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nvGrpSpPr>
          <p:cNvPr id="2" name="Angled stripes">
            <a:extLst>
              <a:ext uri="{FF2B5EF4-FFF2-40B4-BE49-F238E27FC236}">
                <a16:creationId xmlns:a16="http://schemas.microsoft.com/office/drawing/2014/main" id="{DB628B66-4BEC-46B2-A2E5-007282621861}"/>
              </a:ext>
            </a:extLst>
          </p:cNvPr>
          <p:cNvGrpSpPr/>
          <p:nvPr userDrawn="1"/>
        </p:nvGrpSpPr>
        <p:grpSpPr>
          <a:xfrm>
            <a:off x="3254052" y="0"/>
            <a:ext cx="8937948" cy="6858003"/>
            <a:chOff x="3254052" y="0"/>
            <a:chExt cx="8937948" cy="6858003"/>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strTitlePosition">
            <a:extLst>
              <a:ext uri="{FF2B5EF4-FFF2-40B4-BE49-F238E27FC236}">
                <a16:creationId xmlns:a16="http://schemas.microsoft.com/office/drawing/2014/main" id="{A9E36E1E-2ED7-4797-9DCE-773961672893}"/>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13" name="strChapterNumber">
            <a:extLst>
              <a:ext uri="{FF2B5EF4-FFF2-40B4-BE49-F238E27FC236}">
                <a16:creationId xmlns:a16="http://schemas.microsoft.com/office/drawing/2014/main" id="{988CFDE5-F123-4779-9ABD-AAEC3C392D30}"/>
              </a:ext>
            </a:extLst>
          </p:cNvPr>
          <p:cNvSpPr>
            <a:spLocks noGrp="1"/>
          </p:cNvSpPr>
          <p:nvPr>
            <p:ph type="body" sz="quarter" idx="15" hasCustomPrompt="1"/>
          </p:nvPr>
        </p:nvSpPr>
        <p:spPr>
          <a:xfrm>
            <a:off x="414980" y="4906800"/>
            <a:ext cx="7560000" cy="565146"/>
          </a:xfrm>
        </p:spPr>
        <p:txBody>
          <a:bodyPr lIns="72000" tIns="36000" rIns="72000" bIns="36000">
            <a:noAutofit/>
          </a:bodyPr>
          <a:lstStyle>
            <a:lvl1pPr>
              <a:defRPr sz="3200" b="1">
                <a:solidFill>
                  <a:schemeClr val="bg2"/>
                </a:solidFill>
              </a:defRPr>
            </a:lvl1pPr>
          </a:lstStyle>
          <a:p>
            <a:pPr lvl="0"/>
            <a:r>
              <a:rPr lang="en-US" dirty="0"/>
              <a:t>0. Chapter Title</a:t>
            </a:r>
          </a:p>
        </p:txBody>
      </p:sp>
      <p:sp>
        <p:nvSpPr>
          <p:cNvPr id="14" name="strSectionTitle">
            <a:extLst>
              <a:ext uri="{FF2B5EF4-FFF2-40B4-BE49-F238E27FC236}">
                <a16:creationId xmlns:a16="http://schemas.microsoft.com/office/drawing/2014/main" id="{1F13B55B-3FEF-4D72-B73C-0CD0818BCEEE}"/>
              </a:ext>
            </a:extLst>
          </p:cNvPr>
          <p:cNvSpPr>
            <a:spLocks noGrp="1"/>
          </p:cNvSpPr>
          <p:nvPr>
            <p:ph type="title" hasCustomPrompt="1"/>
          </p:nvPr>
        </p:nvSpPr>
        <p:spPr>
          <a:xfrm>
            <a:off x="414980" y="368300"/>
            <a:ext cx="7560000"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4913448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ubsection_Purple-Bg">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grpSp>
        <p:nvGrpSpPr>
          <p:cNvPr id="2" name="Angled stripes">
            <a:extLst>
              <a:ext uri="{FF2B5EF4-FFF2-40B4-BE49-F238E27FC236}">
                <a16:creationId xmlns:a16="http://schemas.microsoft.com/office/drawing/2014/main" id="{C479C7FD-109B-4809-AEF2-4A5532B55390}"/>
              </a:ext>
            </a:extLst>
          </p:cNvPr>
          <p:cNvGrpSpPr/>
          <p:nvPr userDrawn="1"/>
        </p:nvGrpSpPr>
        <p:grpSpPr>
          <a:xfrm>
            <a:off x="3254052" y="0"/>
            <a:ext cx="8937950" cy="6858002"/>
            <a:chOff x="3254052" y="0"/>
            <a:chExt cx="8937950" cy="6858002"/>
          </a:xfrm>
        </p:grpSpPr>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strTitlePosition">
            <a:extLst>
              <a:ext uri="{FF2B5EF4-FFF2-40B4-BE49-F238E27FC236}">
                <a16:creationId xmlns:a16="http://schemas.microsoft.com/office/drawing/2014/main" id="{D6009BF9-32DD-4542-8D4F-4A72DAA0AE89}"/>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13" name="strSectionNumber">
            <a:extLst>
              <a:ext uri="{FF2B5EF4-FFF2-40B4-BE49-F238E27FC236}">
                <a16:creationId xmlns:a16="http://schemas.microsoft.com/office/drawing/2014/main" id="{2ACA7D30-02A8-482E-AB5B-B223E4F8D969}"/>
              </a:ext>
            </a:extLst>
          </p:cNvPr>
          <p:cNvSpPr>
            <a:spLocks noGrp="1"/>
          </p:cNvSpPr>
          <p:nvPr>
            <p:ph type="body" sz="quarter" idx="15" hasCustomPrompt="1"/>
          </p:nvPr>
        </p:nvSpPr>
        <p:spPr>
          <a:xfrm>
            <a:off x="414980" y="3835800"/>
            <a:ext cx="7560000" cy="503590"/>
          </a:xfrm>
        </p:spPr>
        <p:txBody>
          <a:bodyPr lIns="72000" tIns="36000" rIns="72000" bIns="36000">
            <a:noAutofit/>
          </a:bodyPr>
          <a:lstStyle>
            <a:lvl1pPr>
              <a:defRPr sz="2800" b="1">
                <a:solidFill>
                  <a:schemeClr val="bg2"/>
                </a:solidFill>
              </a:defRPr>
            </a:lvl1pPr>
          </a:lstStyle>
          <a:p>
            <a:pPr lvl="0"/>
            <a:r>
              <a:rPr lang="en-US" noProof="0" dirty="0"/>
              <a:t>0.0 Section Title</a:t>
            </a:r>
          </a:p>
        </p:txBody>
      </p:sp>
      <p:sp>
        <p:nvSpPr>
          <p:cNvPr id="14" name="strSubsectionTitle">
            <a:extLst>
              <a:ext uri="{FF2B5EF4-FFF2-40B4-BE49-F238E27FC236}">
                <a16:creationId xmlns:a16="http://schemas.microsoft.com/office/drawing/2014/main" id="{BEFFF920-061E-4303-8ED5-3B910A5CE929}"/>
              </a:ext>
            </a:extLst>
          </p:cNvPr>
          <p:cNvSpPr>
            <a:spLocks noGrp="1"/>
          </p:cNvSpPr>
          <p:nvPr>
            <p:ph type="title" hasCustomPrompt="1"/>
          </p:nvPr>
        </p:nvSpPr>
        <p:spPr>
          <a:xfrm>
            <a:off x="414980" y="367200"/>
            <a:ext cx="7560000"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19193578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F880F3A8-E255-439C-855F-3431D2A9AD1D}"/>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3387174204"/>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mp; Tex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4" name="Title 3">
            <a:extLst>
              <a:ext uri="{FF2B5EF4-FFF2-40B4-BE49-F238E27FC236}">
                <a16:creationId xmlns:a16="http://schemas.microsoft.com/office/drawing/2014/main" id="{28896B27-1A15-4FDF-9DC5-297A56AF7E1C}"/>
              </a:ext>
            </a:extLst>
          </p:cNvPr>
          <p:cNvSpPr>
            <a:spLocks noGrp="1"/>
          </p:cNvSpPr>
          <p:nvPr>
            <p:ph type="title" hasCustomPrompt="1"/>
          </p:nvPr>
        </p:nvSpPr>
        <p:spPr/>
        <p:txBody>
          <a:bodyPr/>
          <a:lstStyle>
            <a:lvl1pPr>
              <a:defRPr/>
            </a:lvl1pPr>
          </a:lstStyle>
          <a:p>
            <a:r>
              <a:rPr lang="en-US" dirty="0"/>
              <a:t>TITLE OF THE SLIDE – one line</a:t>
            </a:r>
          </a:p>
        </p:txBody>
      </p:sp>
      <p:sp>
        <p:nvSpPr>
          <p:cNvPr id="7" name="Text Placeholder 6">
            <a:extLst>
              <a:ext uri="{FF2B5EF4-FFF2-40B4-BE49-F238E27FC236}">
                <a16:creationId xmlns:a16="http://schemas.microsoft.com/office/drawing/2014/main" id="{56CEC2CB-400F-4AB5-B2CB-F5CD847AB4AB}"/>
              </a:ext>
            </a:extLst>
          </p:cNvPr>
          <p:cNvSpPr>
            <a:spLocks noGrp="1"/>
          </p:cNvSpPr>
          <p:nvPr>
            <p:ph type="body" sz="quarter" idx="19"/>
          </p:nvPr>
        </p:nvSpPr>
        <p:spPr>
          <a:xfrm>
            <a:off x="407987" y="1484313"/>
            <a:ext cx="11376025"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userDrawn="1">
          <p15:clr>
            <a:srgbClr val="FBAE40"/>
          </p15:clr>
        </p15:guide>
        <p15:guide id="9" orient="horz" pos="935"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mp; Text With Diagonal Stripes">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F880F3A8-E255-439C-855F-3431D2A9AD1D}"/>
              </a:ext>
            </a:extLst>
          </p:cNvPr>
          <p:cNvSpPr>
            <a:spLocks noGrp="1"/>
          </p:cNvSpPr>
          <p:nvPr>
            <p:ph type="title" hasCustomPrompt="1"/>
          </p:nvPr>
        </p:nvSpPr>
        <p:spPr/>
        <p:txBody>
          <a:bodyPr/>
          <a:lstStyle>
            <a:lvl1pPr>
              <a:defRPr/>
            </a:lvl1pPr>
          </a:lstStyle>
          <a:p>
            <a:r>
              <a:rPr lang="en-US" dirty="0"/>
              <a:t>TITLE OF THE SLIDE – one line</a:t>
            </a:r>
          </a:p>
        </p:txBody>
      </p:sp>
      <p:sp>
        <p:nvSpPr>
          <p:cNvPr id="5" name="Text Placeholder 5">
            <a:extLst>
              <a:ext uri="{FF2B5EF4-FFF2-40B4-BE49-F238E27FC236}">
                <a16:creationId xmlns:a16="http://schemas.microsoft.com/office/drawing/2014/main" id="{7E3E18FB-D9A3-4E90-AC92-ECC1E796D5D9}"/>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grpSp>
        <p:nvGrpSpPr>
          <p:cNvPr id="3" name="Group 2">
            <a:extLst>
              <a:ext uri="{FF2B5EF4-FFF2-40B4-BE49-F238E27FC236}">
                <a16:creationId xmlns:a16="http://schemas.microsoft.com/office/drawing/2014/main" id="{FE8D8B4F-805A-430A-AD84-0CE681E7EC3B}"/>
              </a:ext>
            </a:extLst>
          </p:cNvPr>
          <p:cNvGrpSpPr/>
          <p:nvPr userDrawn="1"/>
        </p:nvGrpSpPr>
        <p:grpSpPr>
          <a:xfrm>
            <a:off x="7785060" y="4903129"/>
            <a:ext cx="5359828" cy="1072476"/>
            <a:chOff x="7785060" y="4903129"/>
            <a:chExt cx="5359828" cy="1072476"/>
          </a:xfrm>
        </p:grpSpPr>
        <p:sp>
          <p:nvSpPr>
            <p:cNvPr id="7" name="Forme libre : forme 22">
              <a:extLst>
                <a:ext uri="{FF2B5EF4-FFF2-40B4-BE49-F238E27FC236}">
                  <a16:creationId xmlns:a16="http://schemas.microsoft.com/office/drawing/2014/main" id="{880B3EC2-695D-4CFA-BF15-9A15C3EFE145}"/>
                </a:ext>
              </a:extLst>
            </p:cNvPr>
            <p:cNvSpPr/>
            <p:nvPr userDrawn="1"/>
          </p:nvSpPr>
          <p:spPr>
            <a:xfrm rot="8132423">
              <a:off x="7785060" y="4903129"/>
              <a:ext cx="5359828"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 name="Forme libre : forme 20">
              <a:extLst>
                <a:ext uri="{FF2B5EF4-FFF2-40B4-BE49-F238E27FC236}">
                  <a16:creationId xmlns:a16="http://schemas.microsoft.com/office/drawing/2014/main" id="{8D998EB9-260B-4DF4-944C-601AE1D8CEC8}"/>
                </a:ext>
              </a:extLst>
            </p:cNvPr>
            <p:cNvSpPr/>
            <p:nvPr userDrawn="1"/>
          </p:nvSpPr>
          <p:spPr>
            <a:xfrm rot="8132423">
              <a:off x="9089034" y="5445151"/>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9" name="Text Placeholder 6">
            <a:extLst>
              <a:ext uri="{FF2B5EF4-FFF2-40B4-BE49-F238E27FC236}">
                <a16:creationId xmlns:a16="http://schemas.microsoft.com/office/drawing/2014/main" id="{55D856F3-B40A-4A8D-8035-691C21345D9E}"/>
              </a:ext>
            </a:extLst>
          </p:cNvPr>
          <p:cNvSpPr>
            <a:spLocks noGrp="1"/>
          </p:cNvSpPr>
          <p:nvPr>
            <p:ph type="body" sz="quarter" idx="19"/>
          </p:nvPr>
        </p:nvSpPr>
        <p:spPr>
          <a:xfrm>
            <a:off x="407987" y="1484313"/>
            <a:ext cx="11376025"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4679705"/>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itle 2">
            <a:extLst>
              <a:ext uri="{FF2B5EF4-FFF2-40B4-BE49-F238E27FC236}">
                <a16:creationId xmlns:a16="http://schemas.microsoft.com/office/drawing/2014/main" id="{19BC349C-BDD0-4820-9A79-533085E18AE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80115390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ext Placeholder 2">
            <a:extLst>
              <a:ext uri="{FF2B5EF4-FFF2-40B4-BE49-F238E27FC236}">
                <a16:creationId xmlns:a16="http://schemas.microsoft.com/office/drawing/2014/main" id="{7D27530B-B982-466D-AAAE-1BB2BE1FA1CC}"/>
              </a:ext>
            </a:extLst>
          </p:cNvPr>
          <p:cNvSpPr>
            <a:spLocks noGrp="1"/>
          </p:cNvSpPr>
          <p:nvPr>
            <p:ph type="body" sz="quarter" idx="19"/>
          </p:nvPr>
        </p:nvSpPr>
        <p:spPr>
          <a:xfrm>
            <a:off x="407988" y="1196975"/>
            <a:ext cx="11376025" cy="47164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67CD7DEC-0498-4527-AE9A-37F2F59C581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501790898"/>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Photo_Side">
    <p:bg>
      <p:bgPr>
        <a:solidFill>
          <a:schemeClr val="bg2"/>
        </a:solidFill>
        <a:effectLst/>
      </p:bgPr>
    </p:bg>
    <p:spTree>
      <p:nvGrpSpPr>
        <p:cNvPr id="1" name=""/>
        <p:cNvGrpSpPr/>
        <p:nvPr/>
      </p:nvGrpSpPr>
      <p:grpSpPr>
        <a:xfrm>
          <a:off x="0" y="0"/>
          <a:ext cx="0" cy="0"/>
          <a:chOff x="0" y="0"/>
          <a:chExt cx="0" cy="0"/>
        </a:xfrm>
      </p:grpSpPr>
      <p:sp>
        <p:nvSpPr>
          <p:cNvPr id="18" name="RectangleBG">
            <a:extLst>
              <a:ext uri="{FF2B5EF4-FFF2-40B4-BE49-F238E27FC236}">
                <a16:creationId xmlns:a16="http://schemas.microsoft.com/office/drawing/2014/main" id="{9199B631-D4E4-40AE-8B17-25099B2DFED2}"/>
              </a:ext>
            </a:extLst>
          </p:cNvPr>
          <p:cNvSpPr/>
          <p:nvPr userDrawn="1"/>
        </p:nvSpPr>
        <p:spPr>
          <a:xfrm>
            <a:off x="5123892" y="0"/>
            <a:ext cx="70681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Picture Placeholder 19">
            <a:extLst>
              <a:ext uri="{FF2B5EF4-FFF2-40B4-BE49-F238E27FC236}">
                <a16:creationId xmlns:a16="http://schemas.microsoft.com/office/drawing/2014/main" id="{5AA16183-5A93-412C-A78C-718A5A8B238E}"/>
              </a:ext>
            </a:extLst>
          </p:cNvPr>
          <p:cNvSpPr>
            <a:spLocks noGrp="1"/>
          </p:cNvSpPr>
          <p:nvPr>
            <p:ph type="pic" sz="quarter" idx="13"/>
          </p:nvPr>
        </p:nvSpPr>
        <p:spPr>
          <a:xfrm>
            <a:off x="0" y="0"/>
            <a:ext cx="5123892" cy="6858000"/>
          </a:xfrm>
          <a:custGeom>
            <a:avLst/>
            <a:gdLst>
              <a:gd name="connsiteX0" fmla="*/ 0 w 5123892"/>
              <a:gd name="connsiteY0" fmla="*/ 0 h 6858000"/>
              <a:gd name="connsiteX1" fmla="*/ 5123892 w 5123892"/>
              <a:gd name="connsiteY1" fmla="*/ 0 h 6858000"/>
              <a:gd name="connsiteX2" fmla="*/ 5123892 w 5123892"/>
              <a:gd name="connsiteY2" fmla="*/ 6858000 h 6858000"/>
              <a:gd name="connsiteX3" fmla="*/ 0 w 5123892"/>
              <a:gd name="connsiteY3" fmla="*/ 6858000 h 6858000"/>
              <a:gd name="connsiteX4" fmla="*/ 0 w 5123892"/>
              <a:gd name="connsiteY4" fmla="*/ 3763147 h 6858000"/>
              <a:gd name="connsiteX5" fmla="*/ 3834808 w 5123892"/>
              <a:gd name="connsiteY5" fmla="*/ 1 h 6858000"/>
              <a:gd name="connsiteX6" fmla="*/ 3077457 w 5123892"/>
              <a:gd name="connsiteY6" fmla="*/ 1 h 6858000"/>
              <a:gd name="connsiteX7" fmla="*/ 0 w 5123892"/>
              <a:gd name="connsiteY7" fmla="*/ 3019948 h 6858000"/>
              <a:gd name="connsiteX8" fmla="*/ 0 w 5123892"/>
              <a:gd name="connsiteY8" fmla="*/ 2688191 h 6858000"/>
              <a:gd name="connsiteX9" fmla="*/ 2739382 w 5123892"/>
              <a:gd name="connsiteY9" fmla="*/ 1 h 6858000"/>
              <a:gd name="connsiteX10" fmla="*/ 1982031 w 5123892"/>
              <a:gd name="connsiteY10" fmla="*/ 1 h 6858000"/>
              <a:gd name="connsiteX11" fmla="*/ 0 w 5123892"/>
              <a:gd name="connsiteY11"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3892" h="6858000">
                <a:moveTo>
                  <a:pt x="0" y="0"/>
                </a:moveTo>
                <a:lnTo>
                  <a:pt x="5123892" y="0"/>
                </a:lnTo>
                <a:lnTo>
                  <a:pt x="5123892"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a:t>Click icon to add picture</a:t>
            </a:r>
            <a:endParaRPr lang="en-US"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4" name="strTitle">
            <a:extLst>
              <a:ext uri="{FF2B5EF4-FFF2-40B4-BE49-F238E27FC236}">
                <a16:creationId xmlns:a16="http://schemas.microsoft.com/office/drawing/2014/main" id="{282677E1-E7D7-461C-9F6D-B1708372F571}"/>
              </a:ext>
            </a:extLst>
          </p:cNvPr>
          <p:cNvSpPr>
            <a:spLocks noGrp="1"/>
          </p:cNvSpPr>
          <p:nvPr>
            <p:ph type="ctrTitle" hasCustomPrompt="1"/>
          </p:nvPr>
        </p:nvSpPr>
        <p:spPr>
          <a:xfrm>
            <a:off x="5414156" y="521852"/>
            <a:ext cx="6369857" cy="2475348"/>
          </a:xfrm>
        </p:spPr>
        <p:txBody>
          <a:bodyPr lIns="72000" rIns="72000" anchor="t">
            <a:noAutofit/>
          </a:bodyPr>
          <a:lstStyle>
            <a:lvl1pPr algn="l">
              <a:lnSpc>
                <a:spcPct val="80000"/>
              </a:lnSpc>
              <a:defRPr sz="5400" b="1" cap="all" spc="-200" baseline="0">
                <a:solidFill>
                  <a:schemeClr val="bg2"/>
                </a:solidFill>
                <a:latin typeface="+mj-lt"/>
              </a:defRPr>
            </a:lvl1pPr>
          </a:lstStyle>
          <a:p>
            <a:r>
              <a:rPr lang="en-US" dirty="0"/>
              <a:t>TITLE OF THE presentation</a:t>
            </a:r>
          </a:p>
        </p:txBody>
      </p:sp>
      <p:sp>
        <p:nvSpPr>
          <p:cNvPr id="13" name="strSubtitle">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5414156" y="3001503"/>
            <a:ext cx="6369857" cy="811367"/>
          </a:xfrm>
        </p:spPr>
        <p:txBody>
          <a:bodyPr wrap="square" lIns="72000" tIns="36000" rIns="72000" bIns="36000">
            <a:noAutofit/>
          </a:bodyPr>
          <a:lstStyle>
            <a:lvl1pPr marL="0" indent="0" algn="l">
              <a:spcBef>
                <a:spcPts val="0"/>
              </a:spcBef>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f the presentation</a:t>
            </a:r>
          </a:p>
        </p:txBody>
      </p:sp>
      <p:sp>
        <p:nvSpPr>
          <p:cNvPr id="26" name="strDate">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5414156" y="4014515"/>
            <a:ext cx="3600000" cy="349702"/>
          </a:xfrm>
        </p:spPr>
        <p:txBody>
          <a:bodyPr wrap="square" lIns="72000" tIns="36000" rIns="72000" bIns="36000">
            <a:noAutofit/>
          </a:bodyPr>
          <a:lstStyle>
            <a:lvl1pPr marL="0" indent="0">
              <a:spcBef>
                <a:spcPts val="0"/>
              </a:spcBef>
              <a:buNone/>
              <a:defRPr sz="18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nth 20##</a:t>
            </a:r>
          </a:p>
        </p:txBody>
      </p:sp>
      <p:sp>
        <p:nvSpPr>
          <p:cNvPr id="40" name="H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cxnSp>
        <p:nvCxnSpPr>
          <p:cNvPr id="15" name="Hline">
            <a:extLst>
              <a:ext uri="{FF2B5EF4-FFF2-40B4-BE49-F238E27FC236}">
                <a16:creationId xmlns:a16="http://schemas.microsoft.com/office/drawing/2014/main" id="{CED59184-1FCB-491C-B108-0C922F0CD544}"/>
              </a:ext>
            </a:extLst>
          </p:cNvPr>
          <p:cNvCxnSpPr>
            <a:cxnSpLocks/>
          </p:cNvCxnSpPr>
          <p:nvPr userDrawn="1"/>
        </p:nvCxnSpPr>
        <p:spPr>
          <a:xfrm>
            <a:off x="5498463" y="3933056"/>
            <a:ext cx="6639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Game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2"/>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pic>
        <p:nvPicPr>
          <p:cNvPr id="16" name="IpsosLogo">
            <a:extLst>
              <a:ext uri="{FF2B5EF4-FFF2-40B4-BE49-F238E27FC236}">
                <a16:creationId xmlns:a16="http://schemas.microsoft.com/office/drawing/2014/main" id="{C1B8EB55-E36D-488C-9A31-C0FE08E6811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536964595"/>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guide id="6" pos="340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Text Spli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F880F3A8-E255-439C-855F-3431D2A9AD1D}"/>
              </a:ext>
            </a:extLst>
          </p:cNvPr>
          <p:cNvSpPr>
            <a:spLocks noGrp="1"/>
          </p:cNvSpPr>
          <p:nvPr>
            <p:ph type="title" hasCustomPrompt="1"/>
          </p:nvPr>
        </p:nvSpPr>
        <p:spPr>
          <a:xfrm>
            <a:off x="407988" y="368300"/>
            <a:ext cx="5274000" cy="387798"/>
          </a:xfrm>
        </p:spPr>
        <p:txBody>
          <a:bodyPr/>
          <a:lstStyle>
            <a:lvl1pPr>
              <a:defRPr/>
            </a:lvl1pPr>
          </a:lstStyle>
          <a:p>
            <a:r>
              <a:rPr lang="en-US" dirty="0"/>
              <a:t>TITLE OF THE SLIDE – one line</a:t>
            </a:r>
          </a:p>
        </p:txBody>
      </p:sp>
      <p:sp>
        <p:nvSpPr>
          <p:cNvPr id="5" name="Text Placeholder 5">
            <a:extLst>
              <a:ext uri="{FF2B5EF4-FFF2-40B4-BE49-F238E27FC236}">
                <a16:creationId xmlns:a16="http://schemas.microsoft.com/office/drawing/2014/main" id="{7E3E18FB-D9A3-4E90-AC92-ECC1E796D5D9}"/>
              </a:ext>
            </a:extLst>
          </p:cNvPr>
          <p:cNvSpPr>
            <a:spLocks noGrp="1"/>
          </p:cNvSpPr>
          <p:nvPr>
            <p:ph type="body" sz="quarter" idx="15" hasCustomPrompt="1"/>
          </p:nvPr>
        </p:nvSpPr>
        <p:spPr>
          <a:xfrm>
            <a:off x="6510009" y="846000"/>
            <a:ext cx="5274000"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20" name="Text Placeholder 5">
            <a:extLst>
              <a:ext uri="{FF2B5EF4-FFF2-40B4-BE49-F238E27FC236}">
                <a16:creationId xmlns:a16="http://schemas.microsoft.com/office/drawing/2014/main" id="{49D2D0E9-B6D2-4330-9CEE-E3BFE462C4E9}"/>
              </a:ext>
            </a:extLst>
          </p:cNvPr>
          <p:cNvSpPr>
            <a:spLocks noGrp="1"/>
          </p:cNvSpPr>
          <p:nvPr>
            <p:ph type="body" sz="quarter" idx="19" hasCustomPrompt="1"/>
          </p:nvPr>
        </p:nvSpPr>
        <p:spPr>
          <a:xfrm>
            <a:off x="407988" y="846000"/>
            <a:ext cx="5274000"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24" name="Text Placeholder 23">
            <a:extLst>
              <a:ext uri="{FF2B5EF4-FFF2-40B4-BE49-F238E27FC236}">
                <a16:creationId xmlns:a16="http://schemas.microsoft.com/office/drawing/2014/main" id="{C6340244-3EF0-43F9-B482-4EBE767E8914}"/>
              </a:ext>
            </a:extLst>
          </p:cNvPr>
          <p:cNvSpPr>
            <a:spLocks noGrp="1"/>
          </p:cNvSpPr>
          <p:nvPr>
            <p:ph type="body" sz="quarter" idx="20" hasCustomPrompt="1"/>
          </p:nvPr>
        </p:nvSpPr>
        <p:spPr>
          <a:xfrm>
            <a:off x="6510009" y="368301"/>
            <a:ext cx="5274000" cy="387798"/>
          </a:xfrm>
        </p:spPr>
        <p:txBody>
          <a:bodyPr bIns="0">
            <a:noAutofit/>
          </a:bodyPr>
          <a:lstStyle>
            <a:lvl1pPr>
              <a:lnSpc>
                <a:spcPct val="90000"/>
              </a:lnSpc>
              <a:spcBef>
                <a:spcPts val="0"/>
              </a:spcBef>
              <a:defRPr lang="en-US" sz="2400" b="0" kern="1200" cap="all" spc="0" baseline="0" dirty="0" smtClean="0">
                <a:solidFill>
                  <a:schemeClr val="bg2"/>
                </a:solidFill>
                <a:latin typeface="+mn-lt"/>
                <a:ea typeface="+mj-ea"/>
                <a:cs typeface="+mj-cs"/>
              </a:defRPr>
            </a:lvl1pPr>
            <a:lvl5pPr marL="850900" indent="0">
              <a:buNone/>
              <a:defRPr/>
            </a:lvl5pPr>
          </a:lstStyle>
          <a:p>
            <a:r>
              <a:rPr lang="en-US" dirty="0"/>
              <a:t>TITLE OF THE SLIDE – one line</a:t>
            </a:r>
          </a:p>
        </p:txBody>
      </p:sp>
      <p:sp>
        <p:nvSpPr>
          <p:cNvPr id="9" name="Text Placeholder 6">
            <a:extLst>
              <a:ext uri="{FF2B5EF4-FFF2-40B4-BE49-F238E27FC236}">
                <a16:creationId xmlns:a16="http://schemas.microsoft.com/office/drawing/2014/main" id="{F21D73FA-38CB-48BA-86F1-910DFD4D8AF8}"/>
              </a:ext>
            </a:extLst>
          </p:cNvPr>
          <p:cNvSpPr>
            <a:spLocks noGrp="1"/>
          </p:cNvSpPr>
          <p:nvPr>
            <p:ph type="body" sz="quarter" idx="21"/>
          </p:nvPr>
        </p:nvSpPr>
        <p:spPr>
          <a:xfrm>
            <a:off x="407988" y="1484313"/>
            <a:ext cx="5274000"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6">
            <a:extLst>
              <a:ext uri="{FF2B5EF4-FFF2-40B4-BE49-F238E27FC236}">
                <a16:creationId xmlns:a16="http://schemas.microsoft.com/office/drawing/2014/main" id="{F4B9B17C-C5A3-4B37-B6BB-69A35AD7887C}"/>
              </a:ext>
            </a:extLst>
          </p:cNvPr>
          <p:cNvSpPr>
            <a:spLocks noGrp="1"/>
          </p:cNvSpPr>
          <p:nvPr>
            <p:ph type="body" sz="quarter" idx="22"/>
          </p:nvPr>
        </p:nvSpPr>
        <p:spPr>
          <a:xfrm>
            <a:off x="6510009" y="1484313"/>
            <a:ext cx="5274000"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1593148"/>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Text Lef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0" name="Text Placeholder 5">
            <a:extLst>
              <a:ext uri="{FF2B5EF4-FFF2-40B4-BE49-F238E27FC236}">
                <a16:creationId xmlns:a16="http://schemas.microsoft.com/office/drawing/2014/main" id="{49D2D0E9-B6D2-4330-9CEE-E3BFE462C4E9}"/>
              </a:ext>
            </a:extLst>
          </p:cNvPr>
          <p:cNvSpPr>
            <a:spLocks noGrp="1"/>
          </p:cNvSpPr>
          <p:nvPr>
            <p:ph type="body" sz="quarter" idx="19" hasCustomPrompt="1"/>
          </p:nvPr>
        </p:nvSpPr>
        <p:spPr>
          <a:xfrm>
            <a:off x="407988" y="846000"/>
            <a:ext cx="5274000"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9" name="Text Placeholder 6">
            <a:extLst>
              <a:ext uri="{FF2B5EF4-FFF2-40B4-BE49-F238E27FC236}">
                <a16:creationId xmlns:a16="http://schemas.microsoft.com/office/drawing/2014/main" id="{F21D73FA-38CB-48BA-86F1-910DFD4D8AF8}"/>
              </a:ext>
            </a:extLst>
          </p:cNvPr>
          <p:cNvSpPr>
            <a:spLocks noGrp="1"/>
          </p:cNvSpPr>
          <p:nvPr>
            <p:ph type="body" sz="quarter" idx="21"/>
          </p:nvPr>
        </p:nvSpPr>
        <p:spPr>
          <a:xfrm>
            <a:off x="407987" y="1484313"/>
            <a:ext cx="5274000"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FB881570-0BEB-45FD-A2A2-DF4E7BDEAAD1}"/>
              </a:ext>
            </a:extLst>
          </p:cNvPr>
          <p:cNvSpPr>
            <a:spLocks noGrp="1"/>
          </p:cNvSpPr>
          <p:nvPr>
            <p:ph type="title" hasCustomPrompt="1"/>
          </p:nvPr>
        </p:nvSpPr>
        <p:spPr>
          <a:xfrm>
            <a:off x="407987" y="368300"/>
            <a:ext cx="5274000" cy="387798"/>
          </a:xfrm>
        </p:spPr>
        <p:txBody>
          <a:bodyPr/>
          <a:lstStyle>
            <a:lvl1pPr>
              <a:defRPr/>
            </a:lvl1pPr>
          </a:lstStyle>
          <a:p>
            <a:r>
              <a:rPr lang="en-US" dirty="0"/>
              <a:t>TITLE OF THE SLIDE – one line</a:t>
            </a:r>
          </a:p>
        </p:txBody>
      </p:sp>
    </p:spTree>
    <p:extLst>
      <p:ext uri="{BB962C8B-B14F-4D97-AF65-F5344CB8AC3E}">
        <p14:creationId xmlns:p14="http://schemas.microsoft.com/office/powerpoint/2010/main" val="426679226"/>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Text Righ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0" name="Text Placeholder 5">
            <a:extLst>
              <a:ext uri="{FF2B5EF4-FFF2-40B4-BE49-F238E27FC236}">
                <a16:creationId xmlns:a16="http://schemas.microsoft.com/office/drawing/2014/main" id="{49D2D0E9-B6D2-4330-9CEE-E3BFE462C4E9}"/>
              </a:ext>
            </a:extLst>
          </p:cNvPr>
          <p:cNvSpPr>
            <a:spLocks noGrp="1"/>
          </p:cNvSpPr>
          <p:nvPr>
            <p:ph type="body" sz="quarter" idx="19" hasCustomPrompt="1"/>
          </p:nvPr>
        </p:nvSpPr>
        <p:spPr>
          <a:xfrm>
            <a:off x="6510013" y="846000"/>
            <a:ext cx="5274000"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9" name="Text Placeholder 6">
            <a:extLst>
              <a:ext uri="{FF2B5EF4-FFF2-40B4-BE49-F238E27FC236}">
                <a16:creationId xmlns:a16="http://schemas.microsoft.com/office/drawing/2014/main" id="{F21D73FA-38CB-48BA-86F1-910DFD4D8AF8}"/>
              </a:ext>
            </a:extLst>
          </p:cNvPr>
          <p:cNvSpPr>
            <a:spLocks noGrp="1"/>
          </p:cNvSpPr>
          <p:nvPr>
            <p:ph type="body" sz="quarter" idx="21"/>
          </p:nvPr>
        </p:nvSpPr>
        <p:spPr>
          <a:xfrm>
            <a:off x="6510012" y="1484313"/>
            <a:ext cx="5274000"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a:extLst>
              <a:ext uri="{FF2B5EF4-FFF2-40B4-BE49-F238E27FC236}">
                <a16:creationId xmlns:a16="http://schemas.microsoft.com/office/drawing/2014/main" id="{FB881570-0BEB-45FD-A2A2-DF4E7BDEAAD1}"/>
              </a:ext>
            </a:extLst>
          </p:cNvPr>
          <p:cNvSpPr>
            <a:spLocks noGrp="1"/>
          </p:cNvSpPr>
          <p:nvPr>
            <p:ph type="title" hasCustomPrompt="1"/>
          </p:nvPr>
        </p:nvSpPr>
        <p:spPr>
          <a:xfrm>
            <a:off x="6510012" y="368300"/>
            <a:ext cx="5274000" cy="387798"/>
          </a:xfrm>
        </p:spPr>
        <p:txBody>
          <a:bodyPr/>
          <a:lstStyle>
            <a:lvl1pPr>
              <a:defRPr/>
            </a:lvl1pPr>
          </a:lstStyle>
          <a:p>
            <a:r>
              <a:rPr lang="en-US" dirty="0"/>
              <a:t>TITLE OF THE SLIDE – one line</a:t>
            </a:r>
          </a:p>
        </p:txBody>
      </p:sp>
    </p:spTree>
    <p:extLst>
      <p:ext uri="{BB962C8B-B14F-4D97-AF65-F5344CB8AC3E}">
        <p14:creationId xmlns:p14="http://schemas.microsoft.com/office/powerpoint/2010/main" val="1815611915"/>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Text Right Wider">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itle 2">
            <a:extLst>
              <a:ext uri="{FF2B5EF4-FFF2-40B4-BE49-F238E27FC236}">
                <a16:creationId xmlns:a16="http://schemas.microsoft.com/office/drawing/2014/main" id="{19BC349C-BDD0-4820-9A79-533085E18AEF}"/>
              </a:ext>
            </a:extLst>
          </p:cNvPr>
          <p:cNvSpPr>
            <a:spLocks noGrp="1"/>
          </p:cNvSpPr>
          <p:nvPr>
            <p:ph type="title" hasCustomPrompt="1"/>
          </p:nvPr>
        </p:nvSpPr>
        <p:spPr>
          <a:xfrm>
            <a:off x="3820160" y="368300"/>
            <a:ext cx="7963851" cy="387798"/>
          </a:xfrm>
        </p:spPr>
        <p:txBody>
          <a:bodyPr/>
          <a:lstStyle>
            <a:lvl1pPr>
              <a:defRPr/>
            </a:lvl1pPr>
          </a:lstStyle>
          <a:p>
            <a:r>
              <a:rPr lang="en-US" dirty="0"/>
              <a:t>TITLE OF THE SLIDE – one line</a:t>
            </a:r>
          </a:p>
        </p:txBody>
      </p:sp>
      <p:sp>
        <p:nvSpPr>
          <p:cNvPr id="5" name="Text Placeholder 5">
            <a:extLst>
              <a:ext uri="{FF2B5EF4-FFF2-40B4-BE49-F238E27FC236}">
                <a16:creationId xmlns:a16="http://schemas.microsoft.com/office/drawing/2014/main" id="{116CE797-1F3D-4B22-BCC5-2F0A28302B8F}"/>
              </a:ext>
            </a:extLst>
          </p:cNvPr>
          <p:cNvSpPr>
            <a:spLocks noGrp="1"/>
          </p:cNvSpPr>
          <p:nvPr>
            <p:ph type="body" sz="quarter" idx="15" hasCustomPrompt="1"/>
          </p:nvPr>
        </p:nvSpPr>
        <p:spPr>
          <a:xfrm>
            <a:off x="3820159" y="846000"/>
            <a:ext cx="7963851"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6" name="Text Placeholder 6">
            <a:extLst>
              <a:ext uri="{FF2B5EF4-FFF2-40B4-BE49-F238E27FC236}">
                <a16:creationId xmlns:a16="http://schemas.microsoft.com/office/drawing/2014/main" id="{96857426-65DB-4784-9162-A4F01CE82B86}"/>
              </a:ext>
            </a:extLst>
          </p:cNvPr>
          <p:cNvSpPr>
            <a:spLocks noGrp="1"/>
          </p:cNvSpPr>
          <p:nvPr>
            <p:ph type="body" sz="quarter" idx="19"/>
          </p:nvPr>
        </p:nvSpPr>
        <p:spPr>
          <a:xfrm>
            <a:off x="3820160" y="1484313"/>
            <a:ext cx="7963852"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6200717"/>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Footer">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4"/>
            <a:ext cx="10080000" cy="396875"/>
          </a:xfrm>
        </p:spPr>
        <p:txBody>
          <a:bodyPr wrap="square" lIns="0" tIns="0" bIns="0" anchor="t" anchorCtr="0">
            <a:noAutofit/>
          </a:bodyPr>
          <a:lstStyle>
            <a:lvl1pPr marL="0" indent="0" defTabSz="541338">
              <a:spcBef>
                <a:spcPts val="0"/>
              </a:spcBef>
              <a:buNone/>
              <a:defRPr sz="800" b="0" i="1">
                <a:solidFill>
                  <a:schemeClr val="tx1">
                    <a:lumMod val="50000"/>
                    <a:lumOff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dirty="0"/>
              <a:t>Base:	Xxx</a:t>
            </a:r>
          </a:p>
          <a:p>
            <a:pPr lvl="0"/>
            <a:r>
              <a:rPr lang="en-US" dirty="0"/>
              <a:t>Question:	Xxx</a:t>
            </a:r>
          </a:p>
          <a:p>
            <a:pPr lvl="0"/>
            <a:r>
              <a:rPr lang="en-US" dirty="0"/>
              <a:t>	Xxx</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2BFC839B-8CF0-4FE4-BE39-64E2208DEEB7}"/>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9250816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guide id="9" orient="horz" pos="1117" userDrawn="1">
          <p15:clr>
            <a:srgbClr val="FBAE40"/>
          </p15:clr>
        </p15:guide>
        <p15:guide id="10" orient="horz" pos="1344" userDrawn="1">
          <p15:clr>
            <a:srgbClr val="FBAE40"/>
          </p15:clr>
        </p15:guide>
        <p15:guide id="11" orient="horz" pos="1434" userDrawn="1">
          <p15:clr>
            <a:srgbClr val="FBAE40"/>
          </p15:clr>
        </p15:guide>
        <p15:guide id="12" orient="horz" pos="3543" userDrawn="1">
          <p15:clr>
            <a:srgbClr val="FBAE40"/>
          </p15:clr>
        </p15:guide>
        <p15:guide id="13" pos="1572" userDrawn="1">
          <p15:clr>
            <a:srgbClr val="FBAE40"/>
          </p15:clr>
        </p15:guide>
        <p15:guide id="14" pos="6108"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clusion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765175"/>
            <a:ext cx="11376025" cy="719138"/>
          </a:xfrm>
          <a:noFill/>
        </p:spPr>
        <p:txBody>
          <a:bodyPr wrap="square" lIns="0" tIns="0" rIns="0" bIns="0">
            <a:noAutofit/>
          </a:bodyPr>
          <a:lstStyle>
            <a:lvl1pPr marL="0" marR="0" indent="0" algn="l" defTabSz="914400" rtl="0" eaLnBrk="1" fontAlgn="auto" latinLnBrk="0" hangingPunct="1">
              <a:lnSpc>
                <a:spcPct val="100000"/>
              </a:lnSpc>
              <a:spcBef>
                <a:spcPts val="0"/>
              </a:spcBef>
              <a:spcAft>
                <a:spcPts val="0"/>
              </a:spcAft>
              <a:buClrTx/>
              <a:buSzPct val="50000"/>
              <a:buFont typeface="Arial" panose="020B0406020202030204" pitchFamily="34" charset="0"/>
              <a:buNone/>
              <a:tabLst/>
              <a:defRPr sz="2000">
                <a:solidFill>
                  <a:schemeClr val="tx2"/>
                </a:solidFill>
              </a:defRPr>
            </a:lvl1pPr>
          </a:lstStyle>
          <a:p>
            <a:pPr lvl="0"/>
            <a:r>
              <a:rPr lang="en-US" dirty="0"/>
              <a:t>Conclusion.</a:t>
            </a:r>
          </a:p>
          <a:p>
            <a:pPr marL="0" marR="0" lvl="0" indent="0" algn="l" defTabSz="914400" rtl="0" eaLnBrk="1" fontAlgn="auto" latinLnBrk="0" hangingPunct="1">
              <a:lnSpc>
                <a:spcPct val="100000"/>
              </a:lnSpc>
              <a:spcBef>
                <a:spcPts val="0"/>
              </a:spcBef>
              <a:spcAft>
                <a:spcPts val="0"/>
              </a:spcAft>
              <a:buClrTx/>
              <a:buSzPct val="50000"/>
              <a:buFont typeface="Arial" panose="020B0406020202030204" pitchFamily="34" charset="0"/>
              <a:buNone/>
              <a:tabLst/>
              <a:defRPr/>
            </a:pPr>
            <a:r>
              <a:rPr lang="en-US" dirty="0"/>
              <a:t>Two lines max.</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4"/>
            <a:ext cx="10080000" cy="396875"/>
          </a:xfrm>
        </p:spPr>
        <p:txBody>
          <a:bodyPr wrap="square" lIns="0" tIns="0" bIns="0" anchor="t" anchorCtr="0">
            <a:noAutofit/>
          </a:bodyPr>
          <a:lstStyle>
            <a:lvl1pPr marL="0" indent="0" defTabSz="541338">
              <a:spcBef>
                <a:spcPts val="0"/>
              </a:spcBef>
              <a:buNone/>
              <a:defRPr sz="800" b="0" i="1">
                <a:solidFill>
                  <a:schemeClr val="tx1">
                    <a:lumMod val="50000"/>
                    <a:lumOff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dirty="0"/>
              <a:t>Base:	Xxx</a:t>
            </a:r>
          </a:p>
          <a:p>
            <a:pPr lvl="0"/>
            <a:r>
              <a:rPr lang="en-US" dirty="0"/>
              <a:t>Question:	Xxx</a:t>
            </a:r>
          </a:p>
          <a:p>
            <a:pPr lvl="0"/>
            <a:r>
              <a:rPr lang="en-US" dirty="0"/>
              <a:t>	Xxx</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1B271E15-A032-4BDE-BAF8-DCFCAEF4F2C2}"/>
              </a:ext>
            </a:extLst>
          </p:cNvPr>
          <p:cNvSpPr>
            <a:spLocks noGrp="1"/>
          </p:cNvSpPr>
          <p:nvPr>
            <p:ph type="title" hasCustomPrompt="1"/>
          </p:nvPr>
        </p:nvSpPr>
        <p:spPr/>
        <p:txBody>
          <a:bodyPr/>
          <a:lstStyle>
            <a:lvl1pPr>
              <a:defRPr sz="1600"/>
            </a:lvl1pPr>
          </a:lstStyle>
          <a:p>
            <a:r>
              <a:rPr lang="en-US" dirty="0"/>
              <a:t>TITLE OF THE SLIDE – one line</a:t>
            </a:r>
          </a:p>
        </p:txBody>
      </p:sp>
    </p:spTree>
    <p:extLst>
      <p:ext uri="{BB962C8B-B14F-4D97-AF65-F5344CB8AC3E}">
        <p14:creationId xmlns:p14="http://schemas.microsoft.com/office/powerpoint/2010/main" val="628297886"/>
      </p:ext>
    </p:extLst>
  </p:cSld>
  <p:clrMapOvr>
    <a:masterClrMapping/>
  </p:clrMapOvr>
  <p:extLst>
    <p:ext uri="{DCECCB84-F9BA-43D5-87BE-67443E8EF086}">
      <p15:sldGuideLst xmlns:p15="http://schemas.microsoft.com/office/powerpoint/2012/main">
        <p15:guide id="5" orient="horz" pos="935" userDrawn="1">
          <p15:clr>
            <a:srgbClr val="FBAE40"/>
          </p15:clr>
        </p15:guide>
        <p15:guide id="6" orient="horz" pos="3725" userDrawn="1">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6108" userDrawn="1">
          <p15:clr>
            <a:srgbClr val="FBAE40"/>
          </p15:clr>
        </p15:guide>
        <p15:guide id="12" pos="1572"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clusion, Title &amp; Footer - Presentation Sty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377377"/>
            <a:ext cx="11376025" cy="719138"/>
          </a:xfrm>
          <a:noFill/>
        </p:spPr>
        <p:txBody>
          <a:bodyPr wrap="square" lIns="0" tIns="0" rIns="0" bIns="0">
            <a:noAutofit/>
          </a:bodyPr>
          <a:lstStyle>
            <a:lvl1pPr marL="0" marR="0" indent="0" algn="l" defTabSz="914400" rtl="0" eaLnBrk="1" fontAlgn="auto" latinLnBrk="0" hangingPunct="1">
              <a:lnSpc>
                <a:spcPct val="100000"/>
              </a:lnSpc>
              <a:spcBef>
                <a:spcPts val="0"/>
              </a:spcBef>
              <a:spcAft>
                <a:spcPts val="0"/>
              </a:spcAft>
              <a:buClrTx/>
              <a:buSzPct val="50000"/>
              <a:buFont typeface="Arial" panose="020B0406020202030204" pitchFamily="34" charset="0"/>
              <a:buNone/>
              <a:tabLst/>
              <a:defRPr sz="2000">
                <a:solidFill>
                  <a:schemeClr val="tx2"/>
                </a:solidFill>
              </a:defRPr>
            </a:lvl1pPr>
          </a:lstStyle>
          <a:p>
            <a:pPr lvl="0"/>
            <a:r>
              <a:rPr lang="en-US" dirty="0"/>
              <a:t>Conclusion.</a:t>
            </a:r>
          </a:p>
          <a:p>
            <a:pPr marL="0" marR="0" lvl="0" indent="0" algn="l" defTabSz="914400" rtl="0" eaLnBrk="1" fontAlgn="auto" latinLnBrk="0" hangingPunct="1">
              <a:lnSpc>
                <a:spcPct val="100000"/>
              </a:lnSpc>
              <a:spcBef>
                <a:spcPts val="0"/>
              </a:spcBef>
              <a:spcAft>
                <a:spcPts val="0"/>
              </a:spcAft>
              <a:buClrTx/>
              <a:buSzPct val="50000"/>
              <a:buFont typeface="Arial" panose="020B0406020202030204" pitchFamily="34" charset="0"/>
              <a:buNone/>
              <a:tabLst/>
              <a:defRPr/>
            </a:pPr>
            <a:r>
              <a:rPr lang="en-US" dirty="0"/>
              <a:t>Two lines max.</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4"/>
            <a:ext cx="10080000" cy="396875"/>
          </a:xfrm>
        </p:spPr>
        <p:txBody>
          <a:bodyPr wrap="square" lIns="0" tIns="0" bIns="0" anchor="t" anchorCtr="0">
            <a:noAutofit/>
          </a:bodyPr>
          <a:lstStyle>
            <a:lvl1pPr marL="0" indent="0" defTabSz="541338">
              <a:spcBef>
                <a:spcPts val="0"/>
              </a:spcBef>
              <a:buNone/>
              <a:defRPr sz="800" b="0" i="1">
                <a:solidFill>
                  <a:schemeClr val="tx1">
                    <a:lumMod val="50000"/>
                    <a:lumOff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dirty="0"/>
              <a:t>Base:	Xxx</a:t>
            </a:r>
          </a:p>
          <a:p>
            <a:pPr lvl="0"/>
            <a:r>
              <a:rPr lang="en-US" dirty="0"/>
              <a:t>Question:	Xxx</a:t>
            </a:r>
          </a:p>
          <a:p>
            <a:pPr lvl="0"/>
            <a:r>
              <a:rPr lang="en-US" dirty="0"/>
              <a:t>	Xxx</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1096515"/>
            <a:ext cx="11376024" cy="387798"/>
          </a:xfrm>
        </p:spPr>
        <p:txBody>
          <a:bodyPr bIns="72000" anchor="b">
            <a:noAutofit/>
          </a:bodyPr>
          <a:lstStyle>
            <a:lvl1pPr>
              <a:defRPr sz="1600"/>
            </a:lvl1pPr>
          </a:lstStyle>
          <a:p>
            <a:r>
              <a:rPr lang="en-US" dirty="0"/>
              <a:t>TITLE OF THE SLIDE – one line</a:t>
            </a:r>
          </a:p>
        </p:txBody>
      </p:sp>
    </p:spTree>
    <p:extLst>
      <p:ext uri="{BB962C8B-B14F-4D97-AF65-F5344CB8AC3E}">
        <p14:creationId xmlns:p14="http://schemas.microsoft.com/office/powerpoint/2010/main" val="3089867524"/>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1572" userDrawn="1">
          <p15:clr>
            <a:srgbClr val="FBAE40"/>
          </p15:clr>
        </p15:guide>
        <p15:guide id="12" pos="610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Text &amp; Visu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15B9A7-20FC-4F46-8387-4CCC79717A8A}"/>
              </a:ext>
            </a:extLst>
          </p:cNvPr>
          <p:cNvSpPr/>
          <p:nvPr userDrawn="1"/>
        </p:nvSpPr>
        <p:spPr>
          <a:xfrm>
            <a:off x="11049001" y="5913438"/>
            <a:ext cx="1143000" cy="944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368300"/>
            <a:ext cx="4428000" cy="997196"/>
          </a:xfrm>
        </p:spPr>
        <p:txBody>
          <a:bodyPr>
            <a:noAutofit/>
          </a:bodyPr>
          <a:lstStyle>
            <a:lvl1pPr>
              <a:defRPr/>
            </a:lvl1pPr>
          </a:lstStyle>
          <a:p>
            <a:r>
              <a:rPr lang="en-US" dirty="0"/>
              <a:t>TITLE OF THE SLIDE</a:t>
            </a:r>
            <a:br>
              <a:rPr lang="en-US" dirty="0"/>
            </a:br>
            <a:r>
              <a:rPr lang="en-US" dirty="0"/>
              <a:t>Two lines</a:t>
            </a:r>
            <a:br>
              <a:rPr lang="en-US" dirty="0"/>
            </a:br>
            <a:r>
              <a:rPr lang="en-US" dirty="0"/>
              <a:t>or three</a:t>
            </a:r>
          </a:p>
        </p:txBody>
      </p:sp>
      <p:sp>
        <p:nvSpPr>
          <p:cNvPr id="4" name="Text Placeholder 3">
            <a:extLst>
              <a:ext uri="{FF2B5EF4-FFF2-40B4-BE49-F238E27FC236}">
                <a16:creationId xmlns:a16="http://schemas.microsoft.com/office/drawing/2014/main" id="{03D849C8-1851-477A-A9B5-6673877887DA}"/>
              </a:ext>
            </a:extLst>
          </p:cNvPr>
          <p:cNvSpPr>
            <a:spLocks noGrp="1"/>
          </p:cNvSpPr>
          <p:nvPr>
            <p:ph type="body" sz="quarter" idx="19"/>
          </p:nvPr>
        </p:nvSpPr>
        <p:spPr>
          <a:xfrm>
            <a:off x="407988" y="1484313"/>
            <a:ext cx="4428000"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8B5427F0-1F6E-43BD-B5FB-29417006F77C}"/>
              </a:ext>
            </a:extLst>
          </p:cNvPr>
          <p:cNvSpPr>
            <a:spLocks noGrp="1"/>
          </p:cNvSpPr>
          <p:nvPr>
            <p:ph type="pic" sz="quarter" idx="15"/>
          </p:nvPr>
        </p:nvSpPr>
        <p:spPr>
          <a:xfrm>
            <a:off x="5123891" y="1"/>
            <a:ext cx="7068110" cy="6858000"/>
          </a:xfrm>
          <a:custGeom>
            <a:avLst/>
            <a:gdLst>
              <a:gd name="connsiteX0" fmla="*/ 6518675 w 7068110"/>
              <a:gd name="connsiteY0" fmla="*/ 6696375 h 6858000"/>
              <a:gd name="connsiteX1" fmla="*/ 6531093 w 7068110"/>
              <a:gd name="connsiteY1" fmla="*/ 6702043 h 6858000"/>
              <a:gd name="connsiteX2" fmla="*/ 6536088 w 7068110"/>
              <a:gd name="connsiteY2" fmla="*/ 6718710 h 6858000"/>
              <a:gd name="connsiteX3" fmla="*/ 6531121 w 7068110"/>
              <a:gd name="connsiteY3" fmla="*/ 6736075 h 6858000"/>
              <a:gd name="connsiteX4" fmla="*/ 6518675 w 7068110"/>
              <a:gd name="connsiteY4" fmla="*/ 6741770 h 6858000"/>
              <a:gd name="connsiteX5" fmla="*/ 6506173 w 7068110"/>
              <a:gd name="connsiteY5" fmla="*/ 6736103 h 6858000"/>
              <a:gd name="connsiteX6" fmla="*/ 6501206 w 7068110"/>
              <a:gd name="connsiteY6" fmla="*/ 6719045 h 6858000"/>
              <a:gd name="connsiteX7" fmla="*/ 6506173 w 7068110"/>
              <a:gd name="connsiteY7" fmla="*/ 6702015 h 6858000"/>
              <a:gd name="connsiteX8" fmla="*/ 6518675 w 7068110"/>
              <a:gd name="connsiteY8" fmla="*/ 6696375 h 6858000"/>
              <a:gd name="connsiteX9" fmla="*/ 6398569 w 7068110"/>
              <a:gd name="connsiteY9" fmla="*/ 6695928 h 6858000"/>
              <a:gd name="connsiteX10" fmla="*/ 6409703 w 7068110"/>
              <a:gd name="connsiteY10" fmla="*/ 6701568 h 6858000"/>
              <a:gd name="connsiteX11" fmla="*/ 6414364 w 7068110"/>
              <a:gd name="connsiteY11" fmla="*/ 6718543 h 6858000"/>
              <a:gd name="connsiteX12" fmla="*/ 6409592 w 7068110"/>
              <a:gd name="connsiteY12" fmla="*/ 6736103 h 6858000"/>
              <a:gd name="connsiteX13" fmla="*/ 6398123 w 7068110"/>
              <a:gd name="connsiteY13" fmla="*/ 6741770 h 6858000"/>
              <a:gd name="connsiteX14" fmla="*/ 6386905 w 7068110"/>
              <a:gd name="connsiteY14" fmla="*/ 6736298 h 6858000"/>
              <a:gd name="connsiteX15" fmla="*/ 6382273 w 7068110"/>
              <a:gd name="connsiteY15" fmla="*/ 6719380 h 6858000"/>
              <a:gd name="connsiteX16" fmla="*/ 6387212 w 7068110"/>
              <a:gd name="connsiteY16" fmla="*/ 6701931 h 6858000"/>
              <a:gd name="connsiteX17" fmla="*/ 6398569 w 7068110"/>
              <a:gd name="connsiteY17" fmla="*/ 6695928 h 6858000"/>
              <a:gd name="connsiteX18" fmla="*/ 6580773 w 7068110"/>
              <a:gd name="connsiteY18" fmla="*/ 6688056 h 6858000"/>
              <a:gd name="connsiteX19" fmla="*/ 6572095 w 7068110"/>
              <a:gd name="connsiteY19" fmla="*/ 6689256 h 6858000"/>
              <a:gd name="connsiteX20" fmla="*/ 6565704 w 7068110"/>
              <a:gd name="connsiteY20" fmla="*/ 6692187 h 6858000"/>
              <a:gd name="connsiteX21" fmla="*/ 6560765 w 7068110"/>
              <a:gd name="connsiteY21" fmla="*/ 6697799 h 6858000"/>
              <a:gd name="connsiteX22" fmla="*/ 6558951 w 7068110"/>
              <a:gd name="connsiteY22" fmla="*/ 6705141 h 6858000"/>
              <a:gd name="connsiteX23" fmla="*/ 6561156 w 7068110"/>
              <a:gd name="connsiteY23" fmla="*/ 6713098 h 6858000"/>
              <a:gd name="connsiteX24" fmla="*/ 6567630 w 7068110"/>
              <a:gd name="connsiteY24" fmla="*/ 6718738 h 6858000"/>
              <a:gd name="connsiteX25" fmla="*/ 6582950 w 7068110"/>
              <a:gd name="connsiteY25" fmla="*/ 6723568 h 6858000"/>
              <a:gd name="connsiteX26" fmla="*/ 6593219 w 7068110"/>
              <a:gd name="connsiteY26" fmla="*/ 6726974 h 6858000"/>
              <a:gd name="connsiteX27" fmla="*/ 6596177 w 7068110"/>
              <a:gd name="connsiteY27" fmla="*/ 6732334 h 6858000"/>
              <a:gd name="connsiteX28" fmla="*/ 6592828 w 7068110"/>
              <a:gd name="connsiteY28" fmla="*/ 6738950 h 6858000"/>
              <a:gd name="connsiteX29" fmla="*/ 6582559 w 7068110"/>
              <a:gd name="connsiteY29" fmla="*/ 6741770 h 6858000"/>
              <a:gd name="connsiteX30" fmla="*/ 6571872 w 7068110"/>
              <a:gd name="connsiteY30" fmla="*/ 6738588 h 6858000"/>
              <a:gd name="connsiteX31" fmla="*/ 6567211 w 7068110"/>
              <a:gd name="connsiteY31" fmla="*/ 6729431 h 6858000"/>
              <a:gd name="connsiteX32" fmla="*/ 6557277 w 7068110"/>
              <a:gd name="connsiteY32" fmla="*/ 6730993 h 6858000"/>
              <a:gd name="connsiteX33" fmla="*/ 6565007 w 7068110"/>
              <a:gd name="connsiteY33" fmla="*/ 6745232 h 6858000"/>
              <a:gd name="connsiteX34" fmla="*/ 6582615 w 7068110"/>
              <a:gd name="connsiteY34" fmla="*/ 6750034 h 6858000"/>
              <a:gd name="connsiteX35" fmla="*/ 6595117 w 7068110"/>
              <a:gd name="connsiteY35" fmla="*/ 6747605 h 6858000"/>
              <a:gd name="connsiteX36" fmla="*/ 6603572 w 7068110"/>
              <a:gd name="connsiteY36" fmla="*/ 6740737 h 6858000"/>
              <a:gd name="connsiteX37" fmla="*/ 6606502 w 7068110"/>
              <a:gd name="connsiteY37" fmla="*/ 6731273 h 6858000"/>
              <a:gd name="connsiteX38" fmla="*/ 6604102 w 7068110"/>
              <a:gd name="connsiteY38" fmla="*/ 6722675 h 6858000"/>
              <a:gd name="connsiteX39" fmla="*/ 6597489 w 7068110"/>
              <a:gd name="connsiteY39" fmla="*/ 6717397 h 6858000"/>
              <a:gd name="connsiteX40" fmla="*/ 6582615 w 7068110"/>
              <a:gd name="connsiteY40" fmla="*/ 6712735 h 6858000"/>
              <a:gd name="connsiteX41" fmla="*/ 6573741 w 7068110"/>
              <a:gd name="connsiteY41" fmla="*/ 6710167 h 6858000"/>
              <a:gd name="connsiteX42" fmla="*/ 6569890 w 7068110"/>
              <a:gd name="connsiteY42" fmla="*/ 6707487 h 6858000"/>
              <a:gd name="connsiteX43" fmla="*/ 6568662 w 7068110"/>
              <a:gd name="connsiteY43" fmla="*/ 6703969 h 6858000"/>
              <a:gd name="connsiteX44" fmla="*/ 6571620 w 7068110"/>
              <a:gd name="connsiteY44" fmla="*/ 6698608 h 6858000"/>
              <a:gd name="connsiteX45" fmla="*/ 6581499 w 7068110"/>
              <a:gd name="connsiteY45" fmla="*/ 6696319 h 6858000"/>
              <a:gd name="connsiteX46" fmla="*/ 6590568 w 7068110"/>
              <a:gd name="connsiteY46" fmla="*/ 6698888 h 6858000"/>
              <a:gd name="connsiteX47" fmla="*/ 6594447 w 7068110"/>
              <a:gd name="connsiteY47" fmla="*/ 6706035 h 6858000"/>
              <a:gd name="connsiteX48" fmla="*/ 6604270 w 7068110"/>
              <a:gd name="connsiteY48" fmla="*/ 6704695 h 6858000"/>
              <a:gd name="connsiteX49" fmla="*/ 6600809 w 7068110"/>
              <a:gd name="connsiteY49" fmla="*/ 6695510 h 6858000"/>
              <a:gd name="connsiteX50" fmla="*/ 6593024 w 7068110"/>
              <a:gd name="connsiteY50" fmla="*/ 6690065 h 6858000"/>
              <a:gd name="connsiteX51" fmla="*/ 6580773 w 7068110"/>
              <a:gd name="connsiteY51" fmla="*/ 6688056 h 6858000"/>
              <a:gd name="connsiteX52" fmla="*/ 6518675 w 7068110"/>
              <a:gd name="connsiteY52" fmla="*/ 6688056 h 6858000"/>
              <a:gd name="connsiteX53" fmla="*/ 6500034 w 7068110"/>
              <a:gd name="connsiteY53" fmla="*/ 6694645 h 6858000"/>
              <a:gd name="connsiteX54" fmla="*/ 6490881 w 7068110"/>
              <a:gd name="connsiteY54" fmla="*/ 6719045 h 6858000"/>
              <a:gd name="connsiteX55" fmla="*/ 6498555 w 7068110"/>
              <a:gd name="connsiteY55" fmla="*/ 6742050 h 6858000"/>
              <a:gd name="connsiteX56" fmla="*/ 6518675 w 7068110"/>
              <a:gd name="connsiteY56" fmla="*/ 6750034 h 6858000"/>
              <a:gd name="connsiteX57" fmla="*/ 6532990 w 7068110"/>
              <a:gd name="connsiteY57" fmla="*/ 6746405 h 6858000"/>
              <a:gd name="connsiteX58" fmla="*/ 6542980 w 7068110"/>
              <a:gd name="connsiteY58" fmla="*/ 6736215 h 6858000"/>
              <a:gd name="connsiteX59" fmla="*/ 6546413 w 7068110"/>
              <a:gd name="connsiteY59" fmla="*/ 6718208 h 6858000"/>
              <a:gd name="connsiteX60" fmla="*/ 6538655 w 7068110"/>
              <a:gd name="connsiteY60" fmla="*/ 6696068 h 6858000"/>
              <a:gd name="connsiteX61" fmla="*/ 6518675 w 7068110"/>
              <a:gd name="connsiteY61" fmla="*/ 6688056 h 6858000"/>
              <a:gd name="connsiteX62" fmla="*/ 6456947 w 7068110"/>
              <a:gd name="connsiteY62" fmla="*/ 6688056 h 6858000"/>
              <a:gd name="connsiteX63" fmla="*/ 6448269 w 7068110"/>
              <a:gd name="connsiteY63" fmla="*/ 6689256 h 6858000"/>
              <a:gd name="connsiteX64" fmla="*/ 6441878 w 7068110"/>
              <a:gd name="connsiteY64" fmla="*/ 6692187 h 6858000"/>
              <a:gd name="connsiteX65" fmla="*/ 6436939 w 7068110"/>
              <a:gd name="connsiteY65" fmla="*/ 6697799 h 6858000"/>
              <a:gd name="connsiteX66" fmla="*/ 6435125 w 7068110"/>
              <a:gd name="connsiteY66" fmla="*/ 6705141 h 6858000"/>
              <a:gd name="connsiteX67" fmla="*/ 6437330 w 7068110"/>
              <a:gd name="connsiteY67" fmla="*/ 6713098 h 6858000"/>
              <a:gd name="connsiteX68" fmla="*/ 6443804 w 7068110"/>
              <a:gd name="connsiteY68" fmla="*/ 6718738 h 6858000"/>
              <a:gd name="connsiteX69" fmla="*/ 6459124 w 7068110"/>
              <a:gd name="connsiteY69" fmla="*/ 6723568 h 6858000"/>
              <a:gd name="connsiteX70" fmla="*/ 6469393 w 7068110"/>
              <a:gd name="connsiteY70" fmla="*/ 6726974 h 6858000"/>
              <a:gd name="connsiteX71" fmla="*/ 6472351 w 7068110"/>
              <a:gd name="connsiteY71" fmla="*/ 6732334 h 6858000"/>
              <a:gd name="connsiteX72" fmla="*/ 6469002 w 7068110"/>
              <a:gd name="connsiteY72" fmla="*/ 6738950 h 6858000"/>
              <a:gd name="connsiteX73" fmla="*/ 6458733 w 7068110"/>
              <a:gd name="connsiteY73" fmla="*/ 6741770 h 6858000"/>
              <a:gd name="connsiteX74" fmla="*/ 6448046 w 7068110"/>
              <a:gd name="connsiteY74" fmla="*/ 6738588 h 6858000"/>
              <a:gd name="connsiteX75" fmla="*/ 6443385 w 7068110"/>
              <a:gd name="connsiteY75" fmla="*/ 6729431 h 6858000"/>
              <a:gd name="connsiteX76" fmla="*/ 6433451 w 7068110"/>
              <a:gd name="connsiteY76" fmla="*/ 6730993 h 6858000"/>
              <a:gd name="connsiteX77" fmla="*/ 6441181 w 7068110"/>
              <a:gd name="connsiteY77" fmla="*/ 6745232 h 6858000"/>
              <a:gd name="connsiteX78" fmla="*/ 6458789 w 7068110"/>
              <a:gd name="connsiteY78" fmla="*/ 6750034 h 6858000"/>
              <a:gd name="connsiteX79" fmla="*/ 6471291 w 7068110"/>
              <a:gd name="connsiteY79" fmla="*/ 6747605 h 6858000"/>
              <a:gd name="connsiteX80" fmla="*/ 6479746 w 7068110"/>
              <a:gd name="connsiteY80" fmla="*/ 6740737 h 6858000"/>
              <a:gd name="connsiteX81" fmla="*/ 6482676 w 7068110"/>
              <a:gd name="connsiteY81" fmla="*/ 6731273 h 6858000"/>
              <a:gd name="connsiteX82" fmla="*/ 6480276 w 7068110"/>
              <a:gd name="connsiteY82" fmla="*/ 6722675 h 6858000"/>
              <a:gd name="connsiteX83" fmla="*/ 6473663 w 7068110"/>
              <a:gd name="connsiteY83" fmla="*/ 6717397 h 6858000"/>
              <a:gd name="connsiteX84" fmla="*/ 6458789 w 7068110"/>
              <a:gd name="connsiteY84" fmla="*/ 6712735 h 6858000"/>
              <a:gd name="connsiteX85" fmla="*/ 6449915 w 7068110"/>
              <a:gd name="connsiteY85" fmla="*/ 6710167 h 6858000"/>
              <a:gd name="connsiteX86" fmla="*/ 6446064 w 7068110"/>
              <a:gd name="connsiteY86" fmla="*/ 6707487 h 6858000"/>
              <a:gd name="connsiteX87" fmla="*/ 6444836 w 7068110"/>
              <a:gd name="connsiteY87" fmla="*/ 6703969 h 6858000"/>
              <a:gd name="connsiteX88" fmla="*/ 6447794 w 7068110"/>
              <a:gd name="connsiteY88" fmla="*/ 6698608 h 6858000"/>
              <a:gd name="connsiteX89" fmla="*/ 6457673 w 7068110"/>
              <a:gd name="connsiteY89" fmla="*/ 6696319 h 6858000"/>
              <a:gd name="connsiteX90" fmla="*/ 6466742 w 7068110"/>
              <a:gd name="connsiteY90" fmla="*/ 6698888 h 6858000"/>
              <a:gd name="connsiteX91" fmla="*/ 6470621 w 7068110"/>
              <a:gd name="connsiteY91" fmla="*/ 6706035 h 6858000"/>
              <a:gd name="connsiteX92" fmla="*/ 6480444 w 7068110"/>
              <a:gd name="connsiteY92" fmla="*/ 6704695 h 6858000"/>
              <a:gd name="connsiteX93" fmla="*/ 6476983 w 7068110"/>
              <a:gd name="connsiteY93" fmla="*/ 6695510 h 6858000"/>
              <a:gd name="connsiteX94" fmla="*/ 6469198 w 7068110"/>
              <a:gd name="connsiteY94" fmla="*/ 6690065 h 6858000"/>
              <a:gd name="connsiteX95" fmla="*/ 6456947 w 7068110"/>
              <a:gd name="connsiteY95" fmla="*/ 6688056 h 6858000"/>
              <a:gd name="connsiteX96" fmla="*/ 6399518 w 7068110"/>
              <a:gd name="connsiteY96" fmla="*/ 6688056 h 6858000"/>
              <a:gd name="connsiteX97" fmla="*/ 6389640 w 7068110"/>
              <a:gd name="connsiteY97" fmla="*/ 6690317 h 6858000"/>
              <a:gd name="connsiteX98" fmla="*/ 6382328 w 7068110"/>
              <a:gd name="connsiteY98" fmla="*/ 6697101 h 6858000"/>
              <a:gd name="connsiteX99" fmla="*/ 6382328 w 7068110"/>
              <a:gd name="connsiteY99" fmla="*/ 6689395 h 6858000"/>
              <a:gd name="connsiteX100" fmla="*/ 6373175 w 7068110"/>
              <a:gd name="connsiteY100" fmla="*/ 6689395 h 6858000"/>
              <a:gd name="connsiteX101" fmla="*/ 6373175 w 7068110"/>
              <a:gd name="connsiteY101" fmla="*/ 6771419 h 6858000"/>
              <a:gd name="connsiteX102" fmla="*/ 6383221 w 7068110"/>
              <a:gd name="connsiteY102" fmla="*/ 6771419 h 6858000"/>
              <a:gd name="connsiteX103" fmla="*/ 6383221 w 7068110"/>
              <a:gd name="connsiteY103" fmla="*/ 6742552 h 6858000"/>
              <a:gd name="connsiteX104" fmla="*/ 6389779 w 7068110"/>
              <a:gd name="connsiteY104" fmla="*/ 6747912 h 6858000"/>
              <a:gd name="connsiteX105" fmla="*/ 6398792 w 7068110"/>
              <a:gd name="connsiteY105" fmla="*/ 6750034 h 6858000"/>
              <a:gd name="connsiteX106" fmla="*/ 6411880 w 7068110"/>
              <a:gd name="connsiteY106" fmla="*/ 6746153 h 6858000"/>
              <a:gd name="connsiteX107" fmla="*/ 6421368 w 7068110"/>
              <a:gd name="connsiteY107" fmla="*/ 6734986 h 6858000"/>
              <a:gd name="connsiteX108" fmla="*/ 6424633 w 7068110"/>
              <a:gd name="connsiteY108" fmla="*/ 6718598 h 6858000"/>
              <a:gd name="connsiteX109" fmla="*/ 6421675 w 7068110"/>
              <a:gd name="connsiteY109" fmla="*/ 6702991 h 6858000"/>
              <a:gd name="connsiteX110" fmla="*/ 6412913 w 7068110"/>
              <a:gd name="connsiteY110" fmla="*/ 6691964 h 6858000"/>
              <a:gd name="connsiteX111" fmla="*/ 6399518 w 7068110"/>
              <a:gd name="connsiteY111" fmla="*/ 6688056 h 6858000"/>
              <a:gd name="connsiteX112" fmla="*/ 6263192 w 7068110"/>
              <a:gd name="connsiteY112" fmla="*/ 6681542 h 6858000"/>
              <a:gd name="connsiteX113" fmla="*/ 6251388 w 7068110"/>
              <a:gd name="connsiteY113" fmla="*/ 6684306 h 6858000"/>
              <a:gd name="connsiteX114" fmla="*/ 6243435 w 7068110"/>
              <a:gd name="connsiteY114" fmla="*/ 6692514 h 6858000"/>
              <a:gd name="connsiteX115" fmla="*/ 6240644 w 7068110"/>
              <a:gd name="connsiteY115" fmla="*/ 6705328 h 6858000"/>
              <a:gd name="connsiteX116" fmla="*/ 6246783 w 7068110"/>
              <a:gd name="connsiteY116" fmla="*/ 6722972 h 6858000"/>
              <a:gd name="connsiteX117" fmla="*/ 6262745 w 7068110"/>
              <a:gd name="connsiteY117" fmla="*/ 6729338 h 6858000"/>
              <a:gd name="connsiteX118" fmla="*/ 6275944 w 7068110"/>
              <a:gd name="connsiteY118" fmla="*/ 6725178 h 6858000"/>
              <a:gd name="connsiteX119" fmla="*/ 6283060 w 7068110"/>
              <a:gd name="connsiteY119" fmla="*/ 6714039 h 6858000"/>
              <a:gd name="connsiteX120" fmla="*/ 6276196 w 7068110"/>
              <a:gd name="connsiteY120" fmla="*/ 6712029 h 6858000"/>
              <a:gd name="connsiteX121" fmla="*/ 6271173 w 7068110"/>
              <a:gd name="connsiteY121" fmla="*/ 6719901 h 6858000"/>
              <a:gd name="connsiteX122" fmla="*/ 6262355 w 7068110"/>
              <a:gd name="connsiteY122" fmla="*/ 6722805 h 6858000"/>
              <a:gd name="connsiteX123" fmla="*/ 6252169 w 7068110"/>
              <a:gd name="connsiteY123" fmla="*/ 6718422 h 6858000"/>
              <a:gd name="connsiteX124" fmla="*/ 6248234 w 7068110"/>
              <a:gd name="connsiteY124" fmla="*/ 6705496 h 6858000"/>
              <a:gd name="connsiteX125" fmla="*/ 6252392 w 7068110"/>
              <a:gd name="connsiteY125" fmla="*/ 6692374 h 6858000"/>
              <a:gd name="connsiteX126" fmla="*/ 6262968 w 7068110"/>
              <a:gd name="connsiteY126" fmla="*/ 6687795 h 6858000"/>
              <a:gd name="connsiteX127" fmla="*/ 6270642 w 7068110"/>
              <a:gd name="connsiteY127" fmla="*/ 6690000 h 6858000"/>
              <a:gd name="connsiteX128" fmla="*/ 6275582 w 7068110"/>
              <a:gd name="connsiteY128" fmla="*/ 6696338 h 6858000"/>
              <a:gd name="connsiteX129" fmla="*/ 6282223 w 7068110"/>
              <a:gd name="connsiteY129" fmla="*/ 6694719 h 6858000"/>
              <a:gd name="connsiteX130" fmla="*/ 6275526 w 7068110"/>
              <a:gd name="connsiteY130" fmla="*/ 6685087 h 6858000"/>
              <a:gd name="connsiteX131" fmla="*/ 6263192 w 7068110"/>
              <a:gd name="connsiteY131" fmla="*/ 6681542 h 6858000"/>
              <a:gd name="connsiteX132" fmla="*/ 6262689 w 7068110"/>
              <a:gd name="connsiteY132" fmla="*/ 6672421 h 6858000"/>
              <a:gd name="connsiteX133" fmla="*/ 6279935 w 7068110"/>
              <a:gd name="connsiteY133" fmla="*/ 6676972 h 6858000"/>
              <a:gd name="connsiteX134" fmla="*/ 6293078 w 7068110"/>
              <a:gd name="connsiteY134" fmla="*/ 6689981 h 6858000"/>
              <a:gd name="connsiteX135" fmla="*/ 6297794 w 7068110"/>
              <a:gd name="connsiteY135" fmla="*/ 6707599 h 6858000"/>
              <a:gd name="connsiteX136" fmla="*/ 6293162 w 7068110"/>
              <a:gd name="connsiteY136" fmla="*/ 6725047 h 6858000"/>
              <a:gd name="connsiteX137" fmla="*/ 6280158 w 7068110"/>
              <a:gd name="connsiteY137" fmla="*/ 6738057 h 6858000"/>
              <a:gd name="connsiteX138" fmla="*/ 6262689 w 7068110"/>
              <a:gd name="connsiteY138" fmla="*/ 6742720 h 6858000"/>
              <a:gd name="connsiteX139" fmla="*/ 6245221 w 7068110"/>
              <a:gd name="connsiteY139" fmla="*/ 6738057 h 6858000"/>
              <a:gd name="connsiteX140" fmla="*/ 6232189 w 7068110"/>
              <a:gd name="connsiteY140" fmla="*/ 6725047 h 6858000"/>
              <a:gd name="connsiteX141" fmla="*/ 6227529 w 7068110"/>
              <a:gd name="connsiteY141" fmla="*/ 6707599 h 6858000"/>
              <a:gd name="connsiteX142" fmla="*/ 6232273 w 7068110"/>
              <a:gd name="connsiteY142" fmla="*/ 6689981 h 6858000"/>
              <a:gd name="connsiteX143" fmla="*/ 6245416 w 7068110"/>
              <a:gd name="connsiteY143" fmla="*/ 6676972 h 6858000"/>
              <a:gd name="connsiteX144" fmla="*/ 6262689 w 7068110"/>
              <a:gd name="connsiteY144" fmla="*/ 6672421 h 6858000"/>
              <a:gd name="connsiteX145" fmla="*/ 6345345 w 7068110"/>
              <a:gd name="connsiteY145" fmla="*/ 6666838 h 6858000"/>
              <a:gd name="connsiteX146" fmla="*/ 6345345 w 7068110"/>
              <a:gd name="connsiteY146" fmla="*/ 6748694 h 6858000"/>
              <a:gd name="connsiteX147" fmla="*/ 6356172 w 7068110"/>
              <a:gd name="connsiteY147" fmla="*/ 6748694 h 6858000"/>
              <a:gd name="connsiteX148" fmla="*/ 6356172 w 7068110"/>
              <a:gd name="connsiteY148" fmla="*/ 6666838 h 6858000"/>
              <a:gd name="connsiteX149" fmla="*/ 6262689 w 7068110"/>
              <a:gd name="connsiteY149" fmla="*/ 6665442 h 6858000"/>
              <a:gd name="connsiteX150" fmla="*/ 6241984 w 7068110"/>
              <a:gd name="connsiteY150" fmla="*/ 6670886 h 6858000"/>
              <a:gd name="connsiteX151" fmla="*/ 6226217 w 7068110"/>
              <a:gd name="connsiteY151" fmla="*/ 6686464 h 6858000"/>
              <a:gd name="connsiteX152" fmla="*/ 6220552 w 7068110"/>
              <a:gd name="connsiteY152" fmla="*/ 6707599 h 6858000"/>
              <a:gd name="connsiteX153" fmla="*/ 6226133 w 7068110"/>
              <a:gd name="connsiteY153" fmla="*/ 6728537 h 6858000"/>
              <a:gd name="connsiteX154" fmla="*/ 6241733 w 7068110"/>
              <a:gd name="connsiteY154" fmla="*/ 6744144 h 6858000"/>
              <a:gd name="connsiteX155" fmla="*/ 6262689 w 7068110"/>
              <a:gd name="connsiteY155" fmla="*/ 6749699 h 6858000"/>
              <a:gd name="connsiteX156" fmla="*/ 6283646 w 7068110"/>
              <a:gd name="connsiteY156" fmla="*/ 6744144 h 6858000"/>
              <a:gd name="connsiteX157" fmla="*/ 6299217 w 7068110"/>
              <a:gd name="connsiteY157" fmla="*/ 6728537 h 6858000"/>
              <a:gd name="connsiteX158" fmla="*/ 6304771 w 7068110"/>
              <a:gd name="connsiteY158" fmla="*/ 6707599 h 6858000"/>
              <a:gd name="connsiteX159" fmla="*/ 6299134 w 7068110"/>
              <a:gd name="connsiteY159" fmla="*/ 6686464 h 6858000"/>
              <a:gd name="connsiteX160" fmla="*/ 6283395 w 7068110"/>
              <a:gd name="connsiteY160" fmla="*/ 6670886 h 6858000"/>
              <a:gd name="connsiteX161" fmla="*/ 6262689 w 7068110"/>
              <a:gd name="connsiteY161" fmla="*/ 6665442 h 6858000"/>
              <a:gd name="connsiteX162" fmla="*/ 6220386 w 7068110"/>
              <a:gd name="connsiteY162" fmla="*/ 6199510 h 6858000"/>
              <a:gd name="connsiteX163" fmla="*/ 6220386 w 7068110"/>
              <a:gd name="connsiteY163" fmla="*/ 6537672 h 6858000"/>
              <a:gd name="connsiteX164" fmla="*/ 6220386 w 7068110"/>
              <a:gd name="connsiteY164" fmla="*/ 6609029 h 6858000"/>
              <a:gd name="connsiteX165" fmla="*/ 6613618 w 7068110"/>
              <a:gd name="connsiteY165" fmla="*/ 6609029 h 6858000"/>
              <a:gd name="connsiteX166" fmla="*/ 6631966 w 7068110"/>
              <a:gd name="connsiteY166" fmla="*/ 6556697 h 6858000"/>
              <a:gd name="connsiteX167" fmla="*/ 6656987 w 7068110"/>
              <a:gd name="connsiteY167" fmla="*/ 6199510 h 6858000"/>
              <a:gd name="connsiteX168" fmla="*/ 6220386 w 7068110"/>
              <a:gd name="connsiteY168" fmla="*/ 6199510 h 6858000"/>
              <a:gd name="connsiteX169" fmla="*/ 0 w 7068110"/>
              <a:gd name="connsiteY169" fmla="*/ 0 h 6858000"/>
              <a:gd name="connsiteX170" fmla="*/ 7068110 w 7068110"/>
              <a:gd name="connsiteY170" fmla="*/ 0 h 6858000"/>
              <a:gd name="connsiteX171" fmla="*/ 7068110 w 7068110"/>
              <a:gd name="connsiteY171" fmla="*/ 6858000 h 6858000"/>
              <a:gd name="connsiteX172" fmla="*/ 0 w 7068110"/>
              <a:gd name="connsiteY17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7068110" h="6858000">
                <a:moveTo>
                  <a:pt x="6518675" y="6696375"/>
                </a:moveTo>
                <a:cubicBezTo>
                  <a:pt x="6523623" y="6696375"/>
                  <a:pt x="6527763" y="6698264"/>
                  <a:pt x="6531093" y="6702043"/>
                </a:cubicBezTo>
                <a:cubicBezTo>
                  <a:pt x="6534423" y="6705821"/>
                  <a:pt x="6536088" y="6711376"/>
                  <a:pt x="6536088" y="6718710"/>
                </a:cubicBezTo>
                <a:cubicBezTo>
                  <a:pt x="6536088" y="6726489"/>
                  <a:pt x="6534432" y="6732278"/>
                  <a:pt x="6531121" y="6736075"/>
                </a:cubicBezTo>
                <a:cubicBezTo>
                  <a:pt x="6527809" y="6739872"/>
                  <a:pt x="6523660" y="6741770"/>
                  <a:pt x="6518675" y="6741770"/>
                </a:cubicBezTo>
                <a:cubicBezTo>
                  <a:pt x="6513652" y="6741770"/>
                  <a:pt x="6509485" y="6739881"/>
                  <a:pt x="6506173" y="6736103"/>
                </a:cubicBezTo>
                <a:cubicBezTo>
                  <a:pt x="6502862" y="6732324"/>
                  <a:pt x="6501206" y="6726638"/>
                  <a:pt x="6501206" y="6719045"/>
                </a:cubicBezTo>
                <a:cubicBezTo>
                  <a:pt x="6501206" y="6711451"/>
                  <a:pt x="6502862" y="6705775"/>
                  <a:pt x="6506173" y="6702015"/>
                </a:cubicBezTo>
                <a:cubicBezTo>
                  <a:pt x="6509485" y="6698255"/>
                  <a:pt x="6513652" y="6696375"/>
                  <a:pt x="6518675" y="6696375"/>
                </a:cubicBezTo>
                <a:close/>
                <a:moveTo>
                  <a:pt x="6398569" y="6695928"/>
                </a:moveTo>
                <a:cubicBezTo>
                  <a:pt x="6402885" y="6695928"/>
                  <a:pt x="6406597" y="6697808"/>
                  <a:pt x="6409703" y="6701568"/>
                </a:cubicBezTo>
                <a:cubicBezTo>
                  <a:pt x="6412810" y="6705328"/>
                  <a:pt x="6414364" y="6710986"/>
                  <a:pt x="6414364" y="6718543"/>
                </a:cubicBezTo>
                <a:cubicBezTo>
                  <a:pt x="6414364" y="6726471"/>
                  <a:pt x="6412773" y="6732324"/>
                  <a:pt x="6409592" y="6736103"/>
                </a:cubicBezTo>
                <a:cubicBezTo>
                  <a:pt x="6406411" y="6739881"/>
                  <a:pt x="6402588" y="6741770"/>
                  <a:pt x="6398123" y="6741770"/>
                </a:cubicBezTo>
                <a:cubicBezTo>
                  <a:pt x="6393732" y="6741770"/>
                  <a:pt x="6389993" y="6739947"/>
                  <a:pt x="6386905" y="6736298"/>
                </a:cubicBezTo>
                <a:cubicBezTo>
                  <a:pt x="6383817" y="6732650"/>
                  <a:pt x="6382273" y="6727011"/>
                  <a:pt x="6382273" y="6719380"/>
                </a:cubicBezTo>
                <a:cubicBezTo>
                  <a:pt x="6382273" y="6711749"/>
                  <a:pt x="6383919" y="6705933"/>
                  <a:pt x="6387212" y="6701931"/>
                </a:cubicBezTo>
                <a:cubicBezTo>
                  <a:pt x="6390505" y="6697929"/>
                  <a:pt x="6394290" y="6695928"/>
                  <a:pt x="6398569" y="6695928"/>
                </a:cubicBezTo>
                <a:close/>
                <a:moveTo>
                  <a:pt x="6580773" y="6688056"/>
                </a:moveTo>
                <a:cubicBezTo>
                  <a:pt x="6577685" y="6688056"/>
                  <a:pt x="6574792" y="6688456"/>
                  <a:pt x="6572095" y="6689256"/>
                </a:cubicBezTo>
                <a:cubicBezTo>
                  <a:pt x="6569397" y="6690056"/>
                  <a:pt x="6567267" y="6691034"/>
                  <a:pt x="6565704" y="6692187"/>
                </a:cubicBezTo>
                <a:cubicBezTo>
                  <a:pt x="6563621" y="6693676"/>
                  <a:pt x="6561974" y="6695547"/>
                  <a:pt x="6560765" y="6697799"/>
                </a:cubicBezTo>
                <a:cubicBezTo>
                  <a:pt x="6559556" y="6700051"/>
                  <a:pt x="6558951" y="6702498"/>
                  <a:pt x="6558951" y="6705141"/>
                </a:cubicBezTo>
                <a:cubicBezTo>
                  <a:pt x="6558951" y="6708045"/>
                  <a:pt x="6559686" y="6710697"/>
                  <a:pt x="6561156" y="6713098"/>
                </a:cubicBezTo>
                <a:cubicBezTo>
                  <a:pt x="6562626" y="6715499"/>
                  <a:pt x="6564784" y="6717379"/>
                  <a:pt x="6567630" y="6718738"/>
                </a:cubicBezTo>
                <a:cubicBezTo>
                  <a:pt x="6570476" y="6720096"/>
                  <a:pt x="6575583" y="6721706"/>
                  <a:pt x="6582950" y="6723568"/>
                </a:cubicBezTo>
                <a:cubicBezTo>
                  <a:pt x="6588419" y="6724945"/>
                  <a:pt x="6591842" y="6726080"/>
                  <a:pt x="6593219" y="6726974"/>
                </a:cubicBezTo>
                <a:cubicBezTo>
                  <a:pt x="6595191" y="6728276"/>
                  <a:pt x="6596177" y="6730063"/>
                  <a:pt x="6596177" y="6732334"/>
                </a:cubicBezTo>
                <a:cubicBezTo>
                  <a:pt x="6596177" y="6734865"/>
                  <a:pt x="6595061" y="6737070"/>
                  <a:pt x="6592828" y="6738950"/>
                </a:cubicBezTo>
                <a:cubicBezTo>
                  <a:pt x="6590596" y="6740830"/>
                  <a:pt x="6587173" y="6741770"/>
                  <a:pt x="6582559" y="6741770"/>
                </a:cubicBezTo>
                <a:cubicBezTo>
                  <a:pt x="6577983" y="6741770"/>
                  <a:pt x="6574420" y="6740709"/>
                  <a:pt x="6571872" y="6738588"/>
                </a:cubicBezTo>
                <a:cubicBezTo>
                  <a:pt x="6569323" y="6736466"/>
                  <a:pt x="6567769" y="6733414"/>
                  <a:pt x="6567211" y="6729431"/>
                </a:cubicBezTo>
                <a:lnTo>
                  <a:pt x="6557277" y="6730993"/>
                </a:lnTo>
                <a:cubicBezTo>
                  <a:pt x="6558393" y="6737284"/>
                  <a:pt x="6560970" y="6742031"/>
                  <a:pt x="6565007" y="6745232"/>
                </a:cubicBezTo>
                <a:cubicBezTo>
                  <a:pt x="6569044" y="6748434"/>
                  <a:pt x="6574913" y="6750034"/>
                  <a:pt x="6582615" y="6750034"/>
                </a:cubicBezTo>
                <a:cubicBezTo>
                  <a:pt x="6587266" y="6750034"/>
                  <a:pt x="6591433" y="6749224"/>
                  <a:pt x="6595117" y="6747605"/>
                </a:cubicBezTo>
                <a:cubicBezTo>
                  <a:pt x="6598800" y="6745985"/>
                  <a:pt x="6601619" y="6743696"/>
                  <a:pt x="6603572" y="6740737"/>
                </a:cubicBezTo>
                <a:cubicBezTo>
                  <a:pt x="6605525" y="6737778"/>
                  <a:pt x="6606502" y="6734623"/>
                  <a:pt x="6606502" y="6731273"/>
                </a:cubicBezTo>
                <a:cubicBezTo>
                  <a:pt x="6606502" y="6727848"/>
                  <a:pt x="6605702" y="6724982"/>
                  <a:pt x="6604102" y="6722675"/>
                </a:cubicBezTo>
                <a:cubicBezTo>
                  <a:pt x="6602502" y="6720367"/>
                  <a:pt x="6600298" y="6718608"/>
                  <a:pt x="6597489" y="6717397"/>
                </a:cubicBezTo>
                <a:cubicBezTo>
                  <a:pt x="6594679" y="6716188"/>
                  <a:pt x="6589722" y="6714634"/>
                  <a:pt x="6582615" y="6712735"/>
                </a:cubicBezTo>
                <a:cubicBezTo>
                  <a:pt x="6577704" y="6711395"/>
                  <a:pt x="6574746" y="6710539"/>
                  <a:pt x="6573741" y="6710167"/>
                </a:cubicBezTo>
                <a:cubicBezTo>
                  <a:pt x="6571992" y="6709459"/>
                  <a:pt x="6570709" y="6708566"/>
                  <a:pt x="6569890" y="6707487"/>
                </a:cubicBezTo>
                <a:cubicBezTo>
                  <a:pt x="6569072" y="6706444"/>
                  <a:pt x="6568662" y="6705272"/>
                  <a:pt x="6568662" y="6703969"/>
                </a:cubicBezTo>
                <a:cubicBezTo>
                  <a:pt x="6568662" y="6701922"/>
                  <a:pt x="6569648" y="6700135"/>
                  <a:pt x="6571620" y="6698608"/>
                </a:cubicBezTo>
                <a:cubicBezTo>
                  <a:pt x="6573592" y="6697083"/>
                  <a:pt x="6576885" y="6696319"/>
                  <a:pt x="6581499" y="6696319"/>
                </a:cubicBezTo>
                <a:cubicBezTo>
                  <a:pt x="6585406" y="6696319"/>
                  <a:pt x="6588429" y="6697176"/>
                  <a:pt x="6590568" y="6698888"/>
                </a:cubicBezTo>
                <a:cubicBezTo>
                  <a:pt x="6592707" y="6700600"/>
                  <a:pt x="6594000" y="6702982"/>
                  <a:pt x="6594447" y="6706035"/>
                </a:cubicBezTo>
                <a:lnTo>
                  <a:pt x="6604270" y="6704695"/>
                </a:lnTo>
                <a:cubicBezTo>
                  <a:pt x="6603637" y="6700860"/>
                  <a:pt x="6602484" y="6697799"/>
                  <a:pt x="6600809" y="6695510"/>
                </a:cubicBezTo>
                <a:cubicBezTo>
                  <a:pt x="6599135" y="6693220"/>
                  <a:pt x="6596540" y="6691406"/>
                  <a:pt x="6593024" y="6690065"/>
                </a:cubicBezTo>
                <a:cubicBezTo>
                  <a:pt x="6589508" y="6688726"/>
                  <a:pt x="6585424" y="6688056"/>
                  <a:pt x="6580773" y="6688056"/>
                </a:cubicBezTo>
                <a:close/>
                <a:moveTo>
                  <a:pt x="6518675" y="6688056"/>
                </a:moveTo>
                <a:cubicBezTo>
                  <a:pt x="6511345" y="6688056"/>
                  <a:pt x="6505131" y="6690252"/>
                  <a:pt x="6500034" y="6694645"/>
                </a:cubicBezTo>
                <a:cubicBezTo>
                  <a:pt x="6493932" y="6699930"/>
                  <a:pt x="6490881" y="6708064"/>
                  <a:pt x="6490881" y="6719045"/>
                </a:cubicBezTo>
                <a:cubicBezTo>
                  <a:pt x="6490881" y="6729059"/>
                  <a:pt x="6493439" y="6736726"/>
                  <a:pt x="6498555" y="6742050"/>
                </a:cubicBezTo>
                <a:cubicBezTo>
                  <a:pt x="6503671" y="6747372"/>
                  <a:pt x="6510378" y="6750034"/>
                  <a:pt x="6518675" y="6750034"/>
                </a:cubicBezTo>
                <a:cubicBezTo>
                  <a:pt x="6523847" y="6750034"/>
                  <a:pt x="6528618" y="6748824"/>
                  <a:pt x="6532990" y="6746405"/>
                </a:cubicBezTo>
                <a:cubicBezTo>
                  <a:pt x="6537362" y="6743985"/>
                  <a:pt x="6540692" y="6740588"/>
                  <a:pt x="6542980" y="6736215"/>
                </a:cubicBezTo>
                <a:cubicBezTo>
                  <a:pt x="6545268" y="6731841"/>
                  <a:pt x="6546413" y="6725838"/>
                  <a:pt x="6546413" y="6718208"/>
                </a:cubicBezTo>
                <a:cubicBezTo>
                  <a:pt x="6546413" y="6708789"/>
                  <a:pt x="6543827" y="6701410"/>
                  <a:pt x="6538655" y="6696068"/>
                </a:cubicBezTo>
                <a:cubicBezTo>
                  <a:pt x="6533483" y="6690727"/>
                  <a:pt x="6526823" y="6688056"/>
                  <a:pt x="6518675" y="6688056"/>
                </a:cubicBezTo>
                <a:close/>
                <a:moveTo>
                  <a:pt x="6456947" y="6688056"/>
                </a:moveTo>
                <a:cubicBezTo>
                  <a:pt x="6453859" y="6688056"/>
                  <a:pt x="6450966" y="6688456"/>
                  <a:pt x="6448269" y="6689256"/>
                </a:cubicBezTo>
                <a:cubicBezTo>
                  <a:pt x="6445571" y="6690056"/>
                  <a:pt x="6443441" y="6691034"/>
                  <a:pt x="6441878" y="6692187"/>
                </a:cubicBezTo>
                <a:cubicBezTo>
                  <a:pt x="6439795" y="6693676"/>
                  <a:pt x="6438148" y="6695547"/>
                  <a:pt x="6436939" y="6697799"/>
                </a:cubicBezTo>
                <a:cubicBezTo>
                  <a:pt x="6435730" y="6700051"/>
                  <a:pt x="6435125" y="6702498"/>
                  <a:pt x="6435125" y="6705141"/>
                </a:cubicBezTo>
                <a:cubicBezTo>
                  <a:pt x="6435125" y="6708045"/>
                  <a:pt x="6435860" y="6710697"/>
                  <a:pt x="6437330" y="6713098"/>
                </a:cubicBezTo>
                <a:cubicBezTo>
                  <a:pt x="6438800" y="6715499"/>
                  <a:pt x="6440958" y="6717379"/>
                  <a:pt x="6443804" y="6718738"/>
                </a:cubicBezTo>
                <a:cubicBezTo>
                  <a:pt x="6446650" y="6720096"/>
                  <a:pt x="6451757" y="6721706"/>
                  <a:pt x="6459124" y="6723568"/>
                </a:cubicBezTo>
                <a:cubicBezTo>
                  <a:pt x="6464593" y="6724945"/>
                  <a:pt x="6468016" y="6726080"/>
                  <a:pt x="6469393" y="6726974"/>
                </a:cubicBezTo>
                <a:cubicBezTo>
                  <a:pt x="6471365" y="6728276"/>
                  <a:pt x="6472351" y="6730063"/>
                  <a:pt x="6472351" y="6732334"/>
                </a:cubicBezTo>
                <a:cubicBezTo>
                  <a:pt x="6472351" y="6734865"/>
                  <a:pt x="6471235" y="6737070"/>
                  <a:pt x="6469002" y="6738950"/>
                </a:cubicBezTo>
                <a:cubicBezTo>
                  <a:pt x="6466770" y="6740830"/>
                  <a:pt x="6463347" y="6741770"/>
                  <a:pt x="6458733" y="6741770"/>
                </a:cubicBezTo>
                <a:cubicBezTo>
                  <a:pt x="6454157" y="6741770"/>
                  <a:pt x="6450594" y="6740709"/>
                  <a:pt x="6448046" y="6738588"/>
                </a:cubicBezTo>
                <a:cubicBezTo>
                  <a:pt x="6445497" y="6736466"/>
                  <a:pt x="6443943" y="6733414"/>
                  <a:pt x="6443385" y="6729431"/>
                </a:cubicBezTo>
                <a:lnTo>
                  <a:pt x="6433451" y="6730993"/>
                </a:lnTo>
                <a:cubicBezTo>
                  <a:pt x="6434567" y="6737284"/>
                  <a:pt x="6437144" y="6742031"/>
                  <a:pt x="6441181" y="6745232"/>
                </a:cubicBezTo>
                <a:cubicBezTo>
                  <a:pt x="6445218" y="6748434"/>
                  <a:pt x="6451087" y="6750034"/>
                  <a:pt x="6458789" y="6750034"/>
                </a:cubicBezTo>
                <a:cubicBezTo>
                  <a:pt x="6463440" y="6750034"/>
                  <a:pt x="6467607" y="6749224"/>
                  <a:pt x="6471291" y="6747605"/>
                </a:cubicBezTo>
                <a:cubicBezTo>
                  <a:pt x="6474974" y="6745985"/>
                  <a:pt x="6477793" y="6743696"/>
                  <a:pt x="6479746" y="6740737"/>
                </a:cubicBezTo>
                <a:cubicBezTo>
                  <a:pt x="6481699" y="6737778"/>
                  <a:pt x="6482676" y="6734623"/>
                  <a:pt x="6482676" y="6731273"/>
                </a:cubicBezTo>
                <a:cubicBezTo>
                  <a:pt x="6482676" y="6727848"/>
                  <a:pt x="6481876" y="6724982"/>
                  <a:pt x="6480276" y="6722675"/>
                </a:cubicBezTo>
                <a:cubicBezTo>
                  <a:pt x="6478676" y="6720367"/>
                  <a:pt x="6476472" y="6718608"/>
                  <a:pt x="6473663" y="6717397"/>
                </a:cubicBezTo>
                <a:cubicBezTo>
                  <a:pt x="6470853" y="6716188"/>
                  <a:pt x="6465896" y="6714634"/>
                  <a:pt x="6458789" y="6712735"/>
                </a:cubicBezTo>
                <a:cubicBezTo>
                  <a:pt x="6453878" y="6711395"/>
                  <a:pt x="6450920" y="6710539"/>
                  <a:pt x="6449915" y="6710167"/>
                </a:cubicBezTo>
                <a:cubicBezTo>
                  <a:pt x="6448166" y="6709459"/>
                  <a:pt x="6446883" y="6708566"/>
                  <a:pt x="6446064" y="6707487"/>
                </a:cubicBezTo>
                <a:cubicBezTo>
                  <a:pt x="6445246" y="6706444"/>
                  <a:pt x="6444836" y="6705272"/>
                  <a:pt x="6444836" y="6703969"/>
                </a:cubicBezTo>
                <a:cubicBezTo>
                  <a:pt x="6444836" y="6701922"/>
                  <a:pt x="6445822" y="6700135"/>
                  <a:pt x="6447794" y="6698608"/>
                </a:cubicBezTo>
                <a:cubicBezTo>
                  <a:pt x="6449766" y="6697083"/>
                  <a:pt x="6453059" y="6696319"/>
                  <a:pt x="6457673" y="6696319"/>
                </a:cubicBezTo>
                <a:cubicBezTo>
                  <a:pt x="6461580" y="6696319"/>
                  <a:pt x="6464603" y="6697176"/>
                  <a:pt x="6466742" y="6698888"/>
                </a:cubicBezTo>
                <a:cubicBezTo>
                  <a:pt x="6468881" y="6700600"/>
                  <a:pt x="6470174" y="6702982"/>
                  <a:pt x="6470621" y="6706035"/>
                </a:cubicBezTo>
                <a:lnTo>
                  <a:pt x="6480444" y="6704695"/>
                </a:lnTo>
                <a:cubicBezTo>
                  <a:pt x="6479811" y="6700860"/>
                  <a:pt x="6478658" y="6697799"/>
                  <a:pt x="6476983" y="6695510"/>
                </a:cubicBezTo>
                <a:cubicBezTo>
                  <a:pt x="6475309" y="6693220"/>
                  <a:pt x="6472714" y="6691406"/>
                  <a:pt x="6469198" y="6690065"/>
                </a:cubicBezTo>
                <a:cubicBezTo>
                  <a:pt x="6465682" y="6688726"/>
                  <a:pt x="6461598" y="6688056"/>
                  <a:pt x="6456947" y="6688056"/>
                </a:cubicBezTo>
                <a:close/>
                <a:moveTo>
                  <a:pt x="6399518" y="6688056"/>
                </a:moveTo>
                <a:cubicBezTo>
                  <a:pt x="6395648" y="6688056"/>
                  <a:pt x="6392356" y="6688809"/>
                  <a:pt x="6389640" y="6690317"/>
                </a:cubicBezTo>
                <a:cubicBezTo>
                  <a:pt x="6386923" y="6691824"/>
                  <a:pt x="6384486" y="6694086"/>
                  <a:pt x="6382328" y="6697101"/>
                </a:cubicBezTo>
                <a:lnTo>
                  <a:pt x="6382328" y="6689395"/>
                </a:lnTo>
                <a:lnTo>
                  <a:pt x="6373175" y="6689395"/>
                </a:lnTo>
                <a:lnTo>
                  <a:pt x="6373175" y="6771419"/>
                </a:lnTo>
                <a:lnTo>
                  <a:pt x="6383221" y="6771419"/>
                </a:lnTo>
                <a:lnTo>
                  <a:pt x="6383221" y="6742552"/>
                </a:lnTo>
                <a:cubicBezTo>
                  <a:pt x="6384933" y="6744711"/>
                  <a:pt x="6387119" y="6746498"/>
                  <a:pt x="6389779" y="6747912"/>
                </a:cubicBezTo>
                <a:cubicBezTo>
                  <a:pt x="6392439" y="6749327"/>
                  <a:pt x="6395444" y="6750034"/>
                  <a:pt x="6398792" y="6750034"/>
                </a:cubicBezTo>
                <a:cubicBezTo>
                  <a:pt x="6403369" y="6750034"/>
                  <a:pt x="6407731" y="6748741"/>
                  <a:pt x="6411880" y="6746153"/>
                </a:cubicBezTo>
                <a:cubicBezTo>
                  <a:pt x="6416029" y="6743566"/>
                  <a:pt x="6419191" y="6739844"/>
                  <a:pt x="6421368" y="6734986"/>
                </a:cubicBezTo>
                <a:cubicBezTo>
                  <a:pt x="6423544" y="6730128"/>
                  <a:pt x="6424633" y="6724666"/>
                  <a:pt x="6424633" y="6718598"/>
                </a:cubicBezTo>
                <a:cubicBezTo>
                  <a:pt x="6424633" y="6712940"/>
                  <a:pt x="6423647" y="6707738"/>
                  <a:pt x="6421675" y="6702991"/>
                </a:cubicBezTo>
                <a:cubicBezTo>
                  <a:pt x="6419703" y="6698245"/>
                  <a:pt x="6416782" y="6694570"/>
                  <a:pt x="6412913" y="6691964"/>
                </a:cubicBezTo>
                <a:cubicBezTo>
                  <a:pt x="6409043" y="6689358"/>
                  <a:pt x="6404578" y="6688056"/>
                  <a:pt x="6399518" y="6688056"/>
                </a:cubicBezTo>
                <a:close/>
                <a:moveTo>
                  <a:pt x="6263192" y="6681542"/>
                </a:moveTo>
                <a:cubicBezTo>
                  <a:pt x="6258764" y="6681542"/>
                  <a:pt x="6254829" y="6682463"/>
                  <a:pt x="6251388" y="6684306"/>
                </a:cubicBezTo>
                <a:cubicBezTo>
                  <a:pt x="6247946" y="6686148"/>
                  <a:pt x="6245295" y="6688884"/>
                  <a:pt x="6243435" y="6692514"/>
                </a:cubicBezTo>
                <a:cubicBezTo>
                  <a:pt x="6241574" y="6696142"/>
                  <a:pt x="6240644" y="6700414"/>
                  <a:pt x="6240644" y="6705328"/>
                </a:cubicBezTo>
                <a:cubicBezTo>
                  <a:pt x="6240644" y="6712847"/>
                  <a:pt x="6242691" y="6718729"/>
                  <a:pt x="6246783" y="6722972"/>
                </a:cubicBezTo>
                <a:cubicBezTo>
                  <a:pt x="6250876" y="6727216"/>
                  <a:pt x="6256197" y="6729338"/>
                  <a:pt x="6262745" y="6729338"/>
                </a:cubicBezTo>
                <a:cubicBezTo>
                  <a:pt x="6267917" y="6729338"/>
                  <a:pt x="6272317" y="6727951"/>
                  <a:pt x="6275944" y="6725178"/>
                </a:cubicBezTo>
                <a:cubicBezTo>
                  <a:pt x="6279572" y="6722404"/>
                  <a:pt x="6281944" y="6718692"/>
                  <a:pt x="6283060" y="6714039"/>
                </a:cubicBezTo>
                <a:lnTo>
                  <a:pt x="6276196" y="6712029"/>
                </a:lnTo>
                <a:cubicBezTo>
                  <a:pt x="6275377" y="6715341"/>
                  <a:pt x="6273703" y="6717965"/>
                  <a:pt x="6271173" y="6719901"/>
                </a:cubicBezTo>
                <a:cubicBezTo>
                  <a:pt x="6268643" y="6721837"/>
                  <a:pt x="6265703" y="6722805"/>
                  <a:pt x="6262355" y="6722805"/>
                </a:cubicBezTo>
                <a:cubicBezTo>
                  <a:pt x="6258187" y="6722805"/>
                  <a:pt x="6254792" y="6721344"/>
                  <a:pt x="6252169" y="6718422"/>
                </a:cubicBezTo>
                <a:cubicBezTo>
                  <a:pt x="6249546" y="6715499"/>
                  <a:pt x="6248234" y="6711190"/>
                  <a:pt x="6248234" y="6705496"/>
                </a:cubicBezTo>
                <a:cubicBezTo>
                  <a:pt x="6248234" y="6699800"/>
                  <a:pt x="6249620" y="6695426"/>
                  <a:pt x="6252392" y="6692374"/>
                </a:cubicBezTo>
                <a:cubicBezTo>
                  <a:pt x="6255164" y="6689321"/>
                  <a:pt x="6258690" y="6687795"/>
                  <a:pt x="6262968" y="6687795"/>
                </a:cubicBezTo>
                <a:cubicBezTo>
                  <a:pt x="6265908" y="6687795"/>
                  <a:pt x="6268466" y="6688531"/>
                  <a:pt x="6270642" y="6690000"/>
                </a:cubicBezTo>
                <a:cubicBezTo>
                  <a:pt x="6272819" y="6691471"/>
                  <a:pt x="6274465" y="6693583"/>
                  <a:pt x="6275582" y="6696338"/>
                </a:cubicBezTo>
                <a:lnTo>
                  <a:pt x="6282223" y="6694719"/>
                </a:lnTo>
                <a:cubicBezTo>
                  <a:pt x="6281032" y="6690662"/>
                  <a:pt x="6278800" y="6687451"/>
                  <a:pt x="6275526" y="6685087"/>
                </a:cubicBezTo>
                <a:cubicBezTo>
                  <a:pt x="6272252" y="6682723"/>
                  <a:pt x="6268140" y="6681542"/>
                  <a:pt x="6263192" y="6681542"/>
                </a:cubicBezTo>
                <a:close/>
                <a:moveTo>
                  <a:pt x="6262689" y="6672421"/>
                </a:moveTo>
                <a:cubicBezTo>
                  <a:pt x="6268568" y="6672421"/>
                  <a:pt x="6274317" y="6673938"/>
                  <a:pt x="6279935" y="6676972"/>
                </a:cubicBezTo>
                <a:cubicBezTo>
                  <a:pt x="6285553" y="6680006"/>
                  <a:pt x="6289934" y="6684343"/>
                  <a:pt x="6293078" y="6689981"/>
                </a:cubicBezTo>
                <a:cubicBezTo>
                  <a:pt x="6296222" y="6695621"/>
                  <a:pt x="6297794" y="6701494"/>
                  <a:pt x="6297794" y="6707599"/>
                </a:cubicBezTo>
                <a:cubicBezTo>
                  <a:pt x="6297794" y="6713665"/>
                  <a:pt x="6296250" y="6719482"/>
                  <a:pt x="6293162" y="6725047"/>
                </a:cubicBezTo>
                <a:cubicBezTo>
                  <a:pt x="6290074" y="6730612"/>
                  <a:pt x="6285739" y="6734949"/>
                  <a:pt x="6280158" y="6738057"/>
                </a:cubicBezTo>
                <a:cubicBezTo>
                  <a:pt x="6274577" y="6741165"/>
                  <a:pt x="6268754" y="6742720"/>
                  <a:pt x="6262689" y="6742720"/>
                </a:cubicBezTo>
                <a:cubicBezTo>
                  <a:pt x="6256625" y="6742720"/>
                  <a:pt x="6250802" y="6741165"/>
                  <a:pt x="6245221" y="6738057"/>
                </a:cubicBezTo>
                <a:cubicBezTo>
                  <a:pt x="6239640" y="6734949"/>
                  <a:pt x="6235296" y="6730612"/>
                  <a:pt x="6232189" y="6725047"/>
                </a:cubicBezTo>
                <a:cubicBezTo>
                  <a:pt x="6229082" y="6719482"/>
                  <a:pt x="6227529" y="6713665"/>
                  <a:pt x="6227529" y="6707599"/>
                </a:cubicBezTo>
                <a:cubicBezTo>
                  <a:pt x="6227529" y="6701494"/>
                  <a:pt x="6229110" y="6695621"/>
                  <a:pt x="6232273" y="6689981"/>
                </a:cubicBezTo>
                <a:cubicBezTo>
                  <a:pt x="6235435" y="6684343"/>
                  <a:pt x="6239816" y="6680006"/>
                  <a:pt x="6245416" y="6676972"/>
                </a:cubicBezTo>
                <a:cubicBezTo>
                  <a:pt x="6251016" y="6673938"/>
                  <a:pt x="6256773" y="6672421"/>
                  <a:pt x="6262689" y="6672421"/>
                </a:cubicBezTo>
                <a:close/>
                <a:moveTo>
                  <a:pt x="6345345" y="6666838"/>
                </a:moveTo>
                <a:lnTo>
                  <a:pt x="6345345" y="6748694"/>
                </a:lnTo>
                <a:lnTo>
                  <a:pt x="6356172" y="6748694"/>
                </a:lnTo>
                <a:lnTo>
                  <a:pt x="6356172" y="6666838"/>
                </a:lnTo>
                <a:close/>
                <a:moveTo>
                  <a:pt x="6262689" y="6665442"/>
                </a:moveTo>
                <a:cubicBezTo>
                  <a:pt x="6255620" y="6665442"/>
                  <a:pt x="6248718" y="6667257"/>
                  <a:pt x="6241984" y="6670886"/>
                </a:cubicBezTo>
                <a:cubicBezTo>
                  <a:pt x="6235249" y="6674515"/>
                  <a:pt x="6229994" y="6679708"/>
                  <a:pt x="6226217" y="6686464"/>
                </a:cubicBezTo>
                <a:cubicBezTo>
                  <a:pt x="6222441" y="6693220"/>
                  <a:pt x="6220552" y="6700265"/>
                  <a:pt x="6220552" y="6707599"/>
                </a:cubicBezTo>
                <a:cubicBezTo>
                  <a:pt x="6220552" y="6714857"/>
                  <a:pt x="6222413" y="6721836"/>
                  <a:pt x="6226133" y="6728537"/>
                </a:cubicBezTo>
                <a:cubicBezTo>
                  <a:pt x="6229854" y="6735237"/>
                  <a:pt x="6235054" y="6740440"/>
                  <a:pt x="6241733" y="6744144"/>
                </a:cubicBezTo>
                <a:cubicBezTo>
                  <a:pt x="6248411" y="6747847"/>
                  <a:pt x="6255397" y="6749699"/>
                  <a:pt x="6262689" y="6749699"/>
                </a:cubicBezTo>
                <a:cubicBezTo>
                  <a:pt x="6269982" y="6749699"/>
                  <a:pt x="6276968" y="6747847"/>
                  <a:pt x="6283646" y="6744144"/>
                </a:cubicBezTo>
                <a:cubicBezTo>
                  <a:pt x="6290325" y="6740440"/>
                  <a:pt x="6295515" y="6735237"/>
                  <a:pt x="6299217" y="6728537"/>
                </a:cubicBezTo>
                <a:cubicBezTo>
                  <a:pt x="6302920" y="6721836"/>
                  <a:pt x="6304771" y="6714857"/>
                  <a:pt x="6304771" y="6707599"/>
                </a:cubicBezTo>
                <a:cubicBezTo>
                  <a:pt x="6304771" y="6700265"/>
                  <a:pt x="6302892" y="6693220"/>
                  <a:pt x="6299134" y="6686464"/>
                </a:cubicBezTo>
                <a:cubicBezTo>
                  <a:pt x="6295376" y="6679708"/>
                  <a:pt x="6290130" y="6674515"/>
                  <a:pt x="6283395" y="6670886"/>
                </a:cubicBezTo>
                <a:cubicBezTo>
                  <a:pt x="6276661" y="6667257"/>
                  <a:pt x="6269759" y="6665442"/>
                  <a:pt x="6262689" y="6665442"/>
                </a:cubicBezTo>
                <a:close/>
                <a:moveTo>
                  <a:pt x="6220386" y="6199510"/>
                </a:moveTo>
                <a:cubicBezTo>
                  <a:pt x="6220386" y="6199510"/>
                  <a:pt x="6220386" y="6199510"/>
                  <a:pt x="6220386" y="6537672"/>
                </a:cubicBezTo>
                <a:lnTo>
                  <a:pt x="6220386" y="6609029"/>
                </a:lnTo>
                <a:lnTo>
                  <a:pt x="6613618" y="6609029"/>
                </a:lnTo>
                <a:lnTo>
                  <a:pt x="6631966" y="6556697"/>
                </a:lnTo>
                <a:cubicBezTo>
                  <a:pt x="6670432" y="6433809"/>
                  <a:pt x="6674067" y="6319269"/>
                  <a:pt x="6656987" y="6199510"/>
                </a:cubicBezTo>
                <a:cubicBezTo>
                  <a:pt x="6656987" y="6199510"/>
                  <a:pt x="6656987" y="6199510"/>
                  <a:pt x="6220386" y="6199510"/>
                </a:cubicBezTo>
                <a:close/>
                <a:moveTo>
                  <a:pt x="0" y="0"/>
                </a:moveTo>
                <a:lnTo>
                  <a:pt x="7068110" y="0"/>
                </a:lnTo>
                <a:lnTo>
                  <a:pt x="7068110" y="6858000"/>
                </a:lnTo>
                <a:lnTo>
                  <a:pt x="0" y="6858000"/>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8" name="(c) Ipsos">
            <a:extLst>
              <a:ext uri="{FF2B5EF4-FFF2-40B4-BE49-F238E27FC236}">
                <a16:creationId xmlns:a16="http://schemas.microsoft.com/office/drawing/2014/main" id="{ECE8CBAC-27A7-4383-856B-688CFFFC8A96}"/>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1" name="Graphique 8">
            <a:extLst>
              <a:ext uri="{FF2B5EF4-FFF2-40B4-BE49-F238E27FC236}">
                <a16:creationId xmlns:a16="http://schemas.microsoft.com/office/drawing/2014/main" id="{9E956FF5-0F31-4EAB-B081-67F36B60620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9021"/>
            <a:ext cx="446881" cy="409329"/>
          </a:xfrm>
          <a:prstGeom prst="rect">
            <a:avLst/>
          </a:prstGeom>
        </p:spPr>
      </p:pic>
    </p:spTree>
    <p:extLst>
      <p:ext uri="{BB962C8B-B14F-4D97-AF65-F5344CB8AC3E}">
        <p14:creationId xmlns:p14="http://schemas.microsoft.com/office/powerpoint/2010/main" val="2494874931"/>
      </p:ext>
    </p:extLst>
  </p:cSld>
  <p:clrMapOvr>
    <a:masterClrMapping/>
  </p:clrMapOvr>
  <p:extLst>
    <p:ext uri="{DCECCB84-F9BA-43D5-87BE-67443E8EF086}">
      <p15:sldGuideLst xmlns:p15="http://schemas.microsoft.com/office/powerpoint/2012/main">
        <p15:guide id="5" orient="horz" pos="935">
          <p15:clr>
            <a:srgbClr val="FBAE40"/>
          </p15:clr>
        </p15:guide>
        <p15:guide id="8" orient="horz" pos="372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Text &amp; Visual Lef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80B734A-C881-4587-9095-A06E5B5DFE59}"/>
              </a:ext>
            </a:extLst>
          </p:cNvPr>
          <p:cNvSpPr>
            <a:spLocks noGrp="1"/>
          </p:cNvSpPr>
          <p:nvPr>
            <p:ph type="pic" sz="quarter" idx="15"/>
          </p:nvPr>
        </p:nvSpPr>
        <p:spPr>
          <a:xfrm>
            <a:off x="2" y="1"/>
            <a:ext cx="4306822" cy="6858000"/>
          </a:xfrm>
          <a:custGeom>
            <a:avLst/>
            <a:gdLst>
              <a:gd name="connsiteX0" fmla="*/ 818352 w 4306822"/>
              <a:gd name="connsiteY0" fmla="*/ 6204523 h 6858000"/>
              <a:gd name="connsiteX1" fmla="*/ 818352 w 4306822"/>
              <a:gd name="connsiteY1" fmla="*/ 6600706 h 6858000"/>
              <a:gd name="connsiteX2" fmla="*/ 824702 w 4306822"/>
              <a:gd name="connsiteY2" fmla="*/ 6600706 h 6858000"/>
              <a:gd name="connsiteX3" fmla="*/ 824702 w 4306822"/>
              <a:gd name="connsiteY3" fmla="*/ 6204523 h 6858000"/>
              <a:gd name="connsiteX4" fmla="*/ 0 w 4306822"/>
              <a:gd name="connsiteY4" fmla="*/ 0 h 6858000"/>
              <a:gd name="connsiteX5" fmla="*/ 4306822 w 4306822"/>
              <a:gd name="connsiteY5" fmla="*/ 0 h 6858000"/>
              <a:gd name="connsiteX6" fmla="*/ 4306822 w 4306822"/>
              <a:gd name="connsiteY6" fmla="*/ 6858000 h 6858000"/>
              <a:gd name="connsiteX7" fmla="*/ 0 w 430682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6822" h="6858000">
                <a:moveTo>
                  <a:pt x="818352" y="6204523"/>
                </a:moveTo>
                <a:lnTo>
                  <a:pt x="818352" y="6600706"/>
                </a:lnTo>
                <a:lnTo>
                  <a:pt x="824702" y="6600706"/>
                </a:lnTo>
                <a:lnTo>
                  <a:pt x="824702" y="6204523"/>
                </a:lnTo>
                <a:close/>
                <a:moveTo>
                  <a:pt x="0" y="0"/>
                </a:moveTo>
                <a:lnTo>
                  <a:pt x="4306822" y="0"/>
                </a:lnTo>
                <a:lnTo>
                  <a:pt x="4306822" y="6858000"/>
                </a:lnTo>
                <a:lnTo>
                  <a:pt x="0" y="6858000"/>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2" name="Rectangle 1">
            <a:extLst>
              <a:ext uri="{FF2B5EF4-FFF2-40B4-BE49-F238E27FC236}">
                <a16:creationId xmlns:a16="http://schemas.microsoft.com/office/drawing/2014/main" id="{EE15B9A7-20FC-4F46-8387-4CCC79717A8A}"/>
              </a:ext>
            </a:extLst>
          </p:cNvPr>
          <p:cNvSpPr/>
          <p:nvPr userDrawn="1"/>
        </p:nvSpPr>
        <p:spPr>
          <a:xfrm>
            <a:off x="11049001" y="5913438"/>
            <a:ext cx="1143000" cy="944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717143" y="368300"/>
            <a:ext cx="7074013" cy="997196"/>
          </a:xfrm>
        </p:spPr>
        <p:txBody>
          <a:bodyPr>
            <a:noAutofit/>
          </a:bodyPr>
          <a:lstStyle>
            <a:lvl1pPr>
              <a:defRPr/>
            </a:lvl1pPr>
          </a:lstStyle>
          <a:p>
            <a:r>
              <a:rPr lang="en-US" dirty="0"/>
              <a:t>TITLE OF THE SLIDE</a:t>
            </a:r>
            <a:br>
              <a:rPr lang="en-US" dirty="0"/>
            </a:br>
            <a:r>
              <a:rPr lang="en-US" dirty="0"/>
              <a:t>Two lines</a:t>
            </a:r>
            <a:br>
              <a:rPr lang="en-US" dirty="0"/>
            </a:br>
            <a:r>
              <a:rPr lang="en-US" dirty="0"/>
              <a:t>or three</a:t>
            </a:r>
          </a:p>
        </p:txBody>
      </p:sp>
      <p:sp>
        <p:nvSpPr>
          <p:cNvPr id="4" name="Text Placeholder 3">
            <a:extLst>
              <a:ext uri="{FF2B5EF4-FFF2-40B4-BE49-F238E27FC236}">
                <a16:creationId xmlns:a16="http://schemas.microsoft.com/office/drawing/2014/main" id="{03D849C8-1851-477A-A9B5-6673877887DA}"/>
              </a:ext>
            </a:extLst>
          </p:cNvPr>
          <p:cNvSpPr>
            <a:spLocks noGrp="1"/>
          </p:cNvSpPr>
          <p:nvPr>
            <p:ph type="body" sz="quarter" idx="19"/>
          </p:nvPr>
        </p:nvSpPr>
        <p:spPr>
          <a:xfrm>
            <a:off x="4717143" y="1484313"/>
            <a:ext cx="7074013"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 Ipsos">
            <a:extLst>
              <a:ext uri="{FF2B5EF4-FFF2-40B4-BE49-F238E27FC236}">
                <a16:creationId xmlns:a16="http://schemas.microsoft.com/office/drawing/2014/main" id="{ECE8CBAC-27A7-4383-856B-688CFFFC8A96}"/>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2"/>
                </a:solidFill>
              </a:rPr>
              <a:t>© Ipsos</a:t>
            </a:r>
          </a:p>
        </p:txBody>
      </p:sp>
      <p:pic>
        <p:nvPicPr>
          <p:cNvPr id="11" name="Graphique 8">
            <a:extLst>
              <a:ext uri="{FF2B5EF4-FFF2-40B4-BE49-F238E27FC236}">
                <a16:creationId xmlns:a16="http://schemas.microsoft.com/office/drawing/2014/main" id="{9E956FF5-0F31-4EAB-B081-67F36B60620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9021"/>
            <a:ext cx="446881" cy="409329"/>
          </a:xfrm>
          <a:prstGeom prst="rect">
            <a:avLst/>
          </a:prstGeom>
        </p:spPr>
      </p:pic>
    </p:spTree>
    <p:extLst>
      <p:ext uri="{BB962C8B-B14F-4D97-AF65-F5344CB8AC3E}">
        <p14:creationId xmlns:p14="http://schemas.microsoft.com/office/powerpoint/2010/main" val="4111605413"/>
      </p:ext>
    </p:extLst>
  </p:cSld>
  <p:clrMapOvr>
    <a:masterClrMapping/>
  </p:clrMapOvr>
  <p:extLst>
    <p:ext uri="{DCECCB84-F9BA-43D5-87BE-67443E8EF086}">
      <p15:sldGuideLst xmlns:p15="http://schemas.microsoft.com/office/powerpoint/2012/main">
        <p15:guide id="5" orient="horz" pos="935">
          <p15:clr>
            <a:srgbClr val="FBAE40"/>
          </p15:clr>
        </p15:guide>
        <p15:guide id="8" orient="horz" pos="372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sual Right &amp; Diagonal Stripes">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4" name="Picture Placeholder 3">
            <a:extLst>
              <a:ext uri="{FF2B5EF4-FFF2-40B4-BE49-F238E27FC236}">
                <a16:creationId xmlns:a16="http://schemas.microsoft.com/office/drawing/2014/main" id="{13C2929E-DB5B-41C8-9CD4-82AF0D933B9C}"/>
              </a:ext>
            </a:extLst>
          </p:cNvPr>
          <p:cNvSpPr>
            <a:spLocks noGrp="1"/>
          </p:cNvSpPr>
          <p:nvPr>
            <p:ph type="pic" sz="quarter" idx="20"/>
          </p:nvPr>
        </p:nvSpPr>
        <p:spPr>
          <a:xfrm>
            <a:off x="6400800" y="0"/>
            <a:ext cx="5791199" cy="6858000"/>
          </a:xfrm>
          <a:solidFill>
            <a:schemeClr val="bg1">
              <a:lumMod val="75000"/>
            </a:schemeClr>
          </a:solidFill>
        </p:spPr>
        <p:txBody>
          <a:bodyPr/>
          <a:lstStyle/>
          <a:p>
            <a:r>
              <a:rPr lang="en-US"/>
              <a:t>Click icon to add picture</a:t>
            </a:r>
          </a:p>
        </p:txBody>
      </p:sp>
      <p:grpSp>
        <p:nvGrpSpPr>
          <p:cNvPr id="8" name="Angled stripes">
            <a:extLst>
              <a:ext uri="{FF2B5EF4-FFF2-40B4-BE49-F238E27FC236}">
                <a16:creationId xmlns:a16="http://schemas.microsoft.com/office/drawing/2014/main" id="{22A662EA-67CB-4825-BF81-BB128B408C26}"/>
              </a:ext>
            </a:extLst>
          </p:cNvPr>
          <p:cNvGrpSpPr/>
          <p:nvPr userDrawn="1"/>
        </p:nvGrpSpPr>
        <p:grpSpPr>
          <a:xfrm>
            <a:off x="0" y="1"/>
            <a:ext cx="3834809" cy="3763146"/>
            <a:chOff x="0" y="1"/>
            <a:chExt cx="3834809" cy="3763146"/>
          </a:xfrm>
        </p:grpSpPr>
        <p:sp>
          <p:nvSpPr>
            <p:cNvPr id="9" name="Angled stripe 2">
              <a:extLst>
                <a:ext uri="{FF2B5EF4-FFF2-40B4-BE49-F238E27FC236}">
                  <a16:creationId xmlns:a16="http://schemas.microsoft.com/office/drawing/2014/main" id="{66B8B058-8F68-4E69-BEC3-0A68F66136D4}"/>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0" name="Angled stripe 1">
              <a:extLst>
                <a:ext uri="{FF2B5EF4-FFF2-40B4-BE49-F238E27FC236}">
                  <a16:creationId xmlns:a16="http://schemas.microsoft.com/office/drawing/2014/main" id="{7F4EB53B-4873-44BA-90A6-63D1D261C4B9}"/>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Tree>
    <p:extLst>
      <p:ext uri="{BB962C8B-B14F-4D97-AF65-F5344CB8AC3E}">
        <p14:creationId xmlns:p14="http://schemas.microsoft.com/office/powerpoint/2010/main" val="2555085588"/>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1" name="TextBox 10">
            <a:extLst>
              <a:ext uri="{FF2B5EF4-FFF2-40B4-BE49-F238E27FC236}">
                <a16:creationId xmlns:a16="http://schemas.microsoft.com/office/drawing/2014/main" id="{7AEAB7C8-BAE9-490C-8CDE-6086AED3C2D8}"/>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sp>
        <p:nvSpPr>
          <p:cNvPr id="5" name="Slide Number Placeholder 4">
            <a:extLst>
              <a:ext uri="{FF2B5EF4-FFF2-40B4-BE49-F238E27FC236}">
                <a16:creationId xmlns:a16="http://schemas.microsoft.com/office/drawing/2014/main" id="{C40E1B82-472D-4CFA-8D33-C8ED1F0493D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6" name="Straight Connector 15">
            <a:extLst>
              <a:ext uri="{FF2B5EF4-FFF2-40B4-BE49-F238E27FC236}">
                <a16:creationId xmlns:a16="http://schemas.microsoft.com/office/drawing/2014/main" id="{F50FD98E-C0A3-443F-BCC3-E123AE6EAEB5}"/>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Graphique 8">
            <a:extLst>
              <a:ext uri="{FF2B5EF4-FFF2-40B4-BE49-F238E27FC236}">
                <a16:creationId xmlns:a16="http://schemas.microsoft.com/office/drawing/2014/main" id="{8BDD45A3-2B3A-4A98-BCDC-1A4B4A86DBF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
        <p:nvSpPr>
          <p:cNvPr id="14" name="strTableOfContents">
            <a:extLst>
              <a:ext uri="{FF2B5EF4-FFF2-40B4-BE49-F238E27FC236}">
                <a16:creationId xmlns:a16="http://schemas.microsoft.com/office/drawing/2014/main" id="{F054EDE5-1748-43F2-ABBB-3333C03EC5DA}"/>
              </a:ext>
            </a:extLst>
          </p:cNvPr>
          <p:cNvSpPr>
            <a:spLocks noGrp="1"/>
          </p:cNvSpPr>
          <p:nvPr>
            <p:ph type="body" sz="quarter" idx="13" hasCustomPrompt="1"/>
          </p:nvPr>
        </p:nvSpPr>
        <p:spPr>
          <a:xfrm>
            <a:off x="414473" y="1593561"/>
            <a:ext cx="11369540" cy="4535777"/>
          </a:xfrm>
        </p:spPr>
        <p:txBody>
          <a:bodyPr wrap="square" lIns="0" rIns="0" numCol="2" spcCol="576000">
            <a:noAutofit/>
          </a:bodyPr>
          <a:lstStyle>
            <a:lvl1pPr marL="0" marR="0" indent="0" algn="l" defTabSz="447675" rtl="0" eaLnBrk="1" fontAlgn="auto" latinLnBrk="0" hangingPunct="1">
              <a:lnSpc>
                <a:spcPct val="100000"/>
              </a:lnSpc>
              <a:spcBef>
                <a:spcPts val="1800"/>
              </a:spcBef>
              <a:spcAft>
                <a:spcPts val="0"/>
              </a:spcAft>
              <a:buClrTx/>
              <a:buSzPct val="100000"/>
              <a:buFont typeface="+mj-lt"/>
              <a:buNone/>
              <a:tabLst/>
              <a:defRPr sz="1600" b="1">
                <a:solidFill>
                  <a:schemeClr val="bg1"/>
                </a:solidFill>
                <a:latin typeface="+mn-lt"/>
              </a:defRPr>
            </a:lvl1pPr>
            <a:lvl2pPr marL="447675" indent="0" defTabSz="447675">
              <a:lnSpc>
                <a:spcPct val="100000"/>
              </a:lnSpc>
              <a:buFont typeface="Arial" panose="020B0604020202020204" pitchFamily="34" charset="0"/>
              <a:buNone/>
              <a:defRPr sz="1600">
                <a:solidFill>
                  <a:schemeClr val="bg1"/>
                </a:solidFill>
              </a:defRPr>
            </a:lvl2pPr>
            <a:lvl3pPr marL="895350" indent="0" defTabSz="447675">
              <a:buNone/>
              <a:defRPr>
                <a:solidFill>
                  <a:schemeClr val="bg1"/>
                </a:solidFill>
              </a:defRPr>
            </a:lvl3pPr>
            <a:lvl4pPr>
              <a:defRPr>
                <a:solidFill>
                  <a:schemeClr val="bg1"/>
                </a:solidFill>
              </a:defRPr>
            </a:lvl4pPr>
            <a:lvl5pPr>
              <a:defRPr>
                <a:solidFill>
                  <a:schemeClr val="bg1"/>
                </a:solidFill>
              </a:defRPr>
            </a:lvl5pPr>
          </a:lstStyle>
          <a:p>
            <a:pPr lvl="0"/>
            <a:r>
              <a:rPr lang="en-US" noProof="0" dirty="0"/>
              <a:t>1. 	CHAPTER TITLE</a:t>
            </a:r>
          </a:p>
          <a:p>
            <a:pPr lvl="1"/>
            <a:r>
              <a:rPr lang="en-US" noProof="0" dirty="0"/>
              <a:t>1.1	Section title</a:t>
            </a:r>
          </a:p>
          <a:p>
            <a:pPr lvl="1"/>
            <a:r>
              <a:rPr lang="en-US" noProof="0" dirty="0"/>
              <a:t>1.2	Section title</a:t>
            </a:r>
          </a:p>
          <a:p>
            <a:pPr lvl="2"/>
            <a:r>
              <a:rPr lang="en-US" noProof="0" dirty="0"/>
              <a:t>1.2.1	Subsection title</a:t>
            </a:r>
          </a:p>
          <a:p>
            <a:pPr lvl="2"/>
            <a:r>
              <a:rPr lang="en-US" noProof="0" dirty="0"/>
              <a:t>1.2.2	Subsection title</a:t>
            </a:r>
          </a:p>
          <a:p>
            <a:pPr lvl="0"/>
            <a:r>
              <a:rPr lang="en-US" noProof="0" dirty="0"/>
              <a:t>2. 	CHAPTER TITLE</a:t>
            </a:r>
          </a:p>
          <a:p>
            <a:pPr lvl="1"/>
            <a:r>
              <a:rPr lang="en-US" noProof="0" dirty="0"/>
              <a:t>2.1	Section title</a:t>
            </a:r>
          </a:p>
          <a:p>
            <a:pPr lvl="1"/>
            <a:r>
              <a:rPr lang="en-US" noProof="0" dirty="0"/>
              <a:t>2.2	Section title</a:t>
            </a:r>
          </a:p>
          <a:p>
            <a:pPr lvl="0"/>
            <a:r>
              <a:rPr lang="en-US" noProof="0" dirty="0"/>
              <a:t>3.	CHAPTER TITLE</a:t>
            </a:r>
          </a:p>
          <a:p>
            <a:pPr marL="0" marR="0" lvl="0" indent="0" algn="l" defTabSz="447675" rtl="0" eaLnBrk="1" fontAlgn="auto" latinLnBrk="0" hangingPunct="1">
              <a:lnSpc>
                <a:spcPct val="100000"/>
              </a:lnSpc>
              <a:spcBef>
                <a:spcPts val="1800"/>
              </a:spcBef>
              <a:spcAft>
                <a:spcPts val="0"/>
              </a:spcAft>
              <a:buClrTx/>
              <a:buSzPct val="100000"/>
              <a:buFont typeface="+mj-lt"/>
              <a:buNone/>
              <a:tabLst/>
              <a:defRPr/>
            </a:pPr>
            <a:r>
              <a:rPr lang="en-US" noProof="0" dirty="0"/>
              <a:t>4.	CHAPTER TITLE</a:t>
            </a:r>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1"/>
                </a:solidFill>
              </a:defRPr>
            </a:lvl1pPr>
          </a:lstStyle>
          <a:p>
            <a:r>
              <a:rPr lang="en-US" noProof="0" dirty="0"/>
              <a:t>SUMMARY</a:t>
            </a:r>
          </a:p>
        </p:txBody>
      </p:sp>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mp; Visual Diagonal">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F0F305B-8CE9-4590-AEE9-17AD255881A5}"/>
              </a:ext>
            </a:extLst>
          </p:cNvPr>
          <p:cNvSpPr>
            <a:spLocks noGrp="1"/>
          </p:cNvSpPr>
          <p:nvPr>
            <p:ph type="pic" sz="quarter" idx="13" hasCustomPrompt="1"/>
          </p:nvPr>
        </p:nvSpPr>
        <p:spPr>
          <a:xfrm>
            <a:off x="0" y="0"/>
            <a:ext cx="12192000" cy="6858000"/>
          </a:xfrm>
          <a:custGeom>
            <a:avLst/>
            <a:gdLst>
              <a:gd name="connsiteX0" fmla="*/ 825026 w 12192000"/>
              <a:gd name="connsiteY0" fmla="*/ 6209433 h 6858000"/>
              <a:gd name="connsiteX1" fmla="*/ 825026 w 12192000"/>
              <a:gd name="connsiteY1" fmla="*/ 6605433 h 6858000"/>
              <a:gd name="connsiteX2" fmla="*/ 832226 w 12192000"/>
              <a:gd name="connsiteY2" fmla="*/ 6605433 h 6858000"/>
              <a:gd name="connsiteX3" fmla="*/ 832226 w 12192000"/>
              <a:gd name="connsiteY3" fmla="*/ 6209433 h 6858000"/>
              <a:gd name="connsiteX4" fmla="*/ 6840072 w 12192000"/>
              <a:gd name="connsiteY4" fmla="*/ 0 h 6858000"/>
              <a:gd name="connsiteX5" fmla="*/ 12192000 w 12192000"/>
              <a:gd name="connsiteY5" fmla="*/ 0 h 6858000"/>
              <a:gd name="connsiteX6" fmla="*/ 12192000 w 12192000"/>
              <a:gd name="connsiteY6" fmla="*/ 5047129 h 6858000"/>
              <a:gd name="connsiteX7" fmla="*/ 10381129 w 12192000"/>
              <a:gd name="connsiteY7" fmla="*/ 6858000 h 6858000"/>
              <a:gd name="connsiteX8" fmla="*/ 0 w 12192000"/>
              <a:gd name="connsiteY8" fmla="*/ 6858000 h 6858000"/>
              <a:gd name="connsiteX9" fmla="*/ 0 w 12192000"/>
              <a:gd name="connsiteY9" fmla="*/ 68400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825026" y="6209433"/>
                </a:moveTo>
                <a:lnTo>
                  <a:pt x="825026" y="6605433"/>
                </a:lnTo>
                <a:lnTo>
                  <a:pt x="832226" y="6605433"/>
                </a:lnTo>
                <a:lnTo>
                  <a:pt x="832226" y="6209433"/>
                </a:lnTo>
                <a:close/>
                <a:moveTo>
                  <a:pt x="6840072" y="0"/>
                </a:moveTo>
                <a:lnTo>
                  <a:pt x="12192000" y="0"/>
                </a:lnTo>
                <a:lnTo>
                  <a:pt x="12192000" y="5047129"/>
                </a:lnTo>
                <a:lnTo>
                  <a:pt x="10381129" y="6858000"/>
                </a:lnTo>
                <a:lnTo>
                  <a:pt x="0" y="6858000"/>
                </a:lnTo>
                <a:lnTo>
                  <a:pt x="0" y="6840072"/>
                </a:lnTo>
                <a:close/>
              </a:path>
            </a:pathLst>
          </a:custGeom>
          <a:solidFill>
            <a:schemeClr val="bg1">
              <a:lumMod val="75000"/>
            </a:schemeClr>
          </a:solidFill>
        </p:spPr>
        <p:txBody>
          <a:bodyPr wrap="square">
            <a:noAutofit/>
          </a:bodyPr>
          <a:lstStyle/>
          <a:p>
            <a:r>
              <a:rPr lang="en-US" dirty="0"/>
              <a:t> </a:t>
            </a:r>
          </a:p>
        </p:txBody>
      </p:sp>
      <p:sp>
        <p:nvSpPr>
          <p:cNvPr id="2" name="Title 1">
            <a:extLst>
              <a:ext uri="{FF2B5EF4-FFF2-40B4-BE49-F238E27FC236}">
                <a16:creationId xmlns:a16="http://schemas.microsoft.com/office/drawing/2014/main" id="{F880F3A8-E255-439C-855F-3431D2A9AD1D}"/>
              </a:ext>
            </a:extLst>
          </p:cNvPr>
          <p:cNvSpPr>
            <a:spLocks noGrp="1"/>
          </p:cNvSpPr>
          <p:nvPr>
            <p:ph type="title" hasCustomPrompt="1"/>
          </p:nvPr>
        </p:nvSpPr>
        <p:spPr/>
        <p:txBody>
          <a:bodyPr/>
          <a:lstStyle>
            <a:lvl1pPr>
              <a:defRPr/>
            </a:lvl1pPr>
          </a:lstStyle>
          <a:p>
            <a:r>
              <a:rPr lang="en-US" dirty="0"/>
              <a:t>TITLE OF THE SLIDE – one line</a:t>
            </a:r>
          </a:p>
        </p:txBody>
      </p:sp>
      <p:sp>
        <p:nvSpPr>
          <p:cNvPr id="5" name="Text Placeholder 5">
            <a:extLst>
              <a:ext uri="{FF2B5EF4-FFF2-40B4-BE49-F238E27FC236}">
                <a16:creationId xmlns:a16="http://schemas.microsoft.com/office/drawing/2014/main" id="{7E3E18FB-D9A3-4E90-AC92-ECC1E796D5D9}"/>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87212453"/>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ull Visual">
    <p:spTree>
      <p:nvGrpSpPr>
        <p:cNvPr id="1" name=""/>
        <p:cNvGrpSpPr/>
        <p:nvPr/>
      </p:nvGrpSpPr>
      <p:grpSpPr>
        <a:xfrm>
          <a:off x="0" y="0"/>
          <a:ext cx="0" cy="0"/>
          <a:chOff x="0" y="0"/>
          <a:chExt cx="0" cy="0"/>
        </a:xfrm>
      </p:grpSpPr>
      <p:sp>
        <p:nvSpPr>
          <p:cNvPr id="57" name="Picture Placeholder">
            <a:extLst>
              <a:ext uri="{FF2B5EF4-FFF2-40B4-BE49-F238E27FC236}">
                <a16:creationId xmlns:a16="http://schemas.microsoft.com/office/drawing/2014/main" id="{E18947DC-1E0A-470C-8A8F-054822CACC1F}"/>
              </a:ext>
            </a:extLst>
          </p:cNvPr>
          <p:cNvSpPr>
            <a:spLocks noGrp="1"/>
          </p:cNvSpPr>
          <p:nvPr>
            <p:ph type="pic" sz="quarter" idx="15"/>
          </p:nvPr>
        </p:nvSpPr>
        <p:spPr>
          <a:xfrm>
            <a:off x="2" y="1"/>
            <a:ext cx="12191999" cy="6858000"/>
          </a:xfrm>
          <a:custGeom>
            <a:avLst/>
            <a:gdLst>
              <a:gd name="connsiteX0" fmla="*/ 11642564 w 12191999"/>
              <a:gd name="connsiteY0" fmla="*/ 6693274 h 6854824"/>
              <a:gd name="connsiteX1" fmla="*/ 11654982 w 12191999"/>
              <a:gd name="connsiteY1" fmla="*/ 6698939 h 6854824"/>
              <a:gd name="connsiteX2" fmla="*/ 11659977 w 12191999"/>
              <a:gd name="connsiteY2" fmla="*/ 6715598 h 6854824"/>
              <a:gd name="connsiteX3" fmla="*/ 11655010 w 12191999"/>
              <a:gd name="connsiteY3" fmla="*/ 6732955 h 6854824"/>
              <a:gd name="connsiteX4" fmla="*/ 11642564 w 12191999"/>
              <a:gd name="connsiteY4" fmla="*/ 6738648 h 6854824"/>
              <a:gd name="connsiteX5" fmla="*/ 11630062 w 12191999"/>
              <a:gd name="connsiteY5" fmla="*/ 6732983 h 6854824"/>
              <a:gd name="connsiteX6" fmla="*/ 11625095 w 12191999"/>
              <a:gd name="connsiteY6" fmla="*/ 6715933 h 6854824"/>
              <a:gd name="connsiteX7" fmla="*/ 11630062 w 12191999"/>
              <a:gd name="connsiteY7" fmla="*/ 6698911 h 6854824"/>
              <a:gd name="connsiteX8" fmla="*/ 11642564 w 12191999"/>
              <a:gd name="connsiteY8" fmla="*/ 6693274 h 6854824"/>
              <a:gd name="connsiteX9" fmla="*/ 11522458 w 12191999"/>
              <a:gd name="connsiteY9" fmla="*/ 6692827 h 6854824"/>
              <a:gd name="connsiteX10" fmla="*/ 11533592 w 12191999"/>
              <a:gd name="connsiteY10" fmla="*/ 6698464 h 6854824"/>
              <a:gd name="connsiteX11" fmla="*/ 11538253 w 12191999"/>
              <a:gd name="connsiteY11" fmla="*/ 6715431 h 6854824"/>
              <a:gd name="connsiteX12" fmla="*/ 11533481 w 12191999"/>
              <a:gd name="connsiteY12" fmla="*/ 6732983 h 6854824"/>
              <a:gd name="connsiteX13" fmla="*/ 11522012 w 12191999"/>
              <a:gd name="connsiteY13" fmla="*/ 6738648 h 6854824"/>
              <a:gd name="connsiteX14" fmla="*/ 11510794 w 12191999"/>
              <a:gd name="connsiteY14" fmla="*/ 6733178 h 6854824"/>
              <a:gd name="connsiteX15" fmla="*/ 11506162 w 12191999"/>
              <a:gd name="connsiteY15" fmla="*/ 6716268 h 6854824"/>
              <a:gd name="connsiteX16" fmla="*/ 11511101 w 12191999"/>
              <a:gd name="connsiteY16" fmla="*/ 6698827 h 6854824"/>
              <a:gd name="connsiteX17" fmla="*/ 11522458 w 12191999"/>
              <a:gd name="connsiteY17" fmla="*/ 6692827 h 6854824"/>
              <a:gd name="connsiteX18" fmla="*/ 11704662 w 12191999"/>
              <a:gd name="connsiteY18" fmla="*/ 6684958 h 6854824"/>
              <a:gd name="connsiteX19" fmla="*/ 11695984 w 12191999"/>
              <a:gd name="connsiteY19" fmla="*/ 6686158 h 6854824"/>
              <a:gd name="connsiteX20" fmla="*/ 11689593 w 12191999"/>
              <a:gd name="connsiteY20" fmla="*/ 6689088 h 6854824"/>
              <a:gd name="connsiteX21" fmla="*/ 11684654 w 12191999"/>
              <a:gd name="connsiteY21" fmla="*/ 6694697 h 6854824"/>
              <a:gd name="connsiteX22" fmla="*/ 11682840 w 12191999"/>
              <a:gd name="connsiteY22" fmla="*/ 6702036 h 6854824"/>
              <a:gd name="connsiteX23" fmla="*/ 11685045 w 12191999"/>
              <a:gd name="connsiteY23" fmla="*/ 6709989 h 6854824"/>
              <a:gd name="connsiteX24" fmla="*/ 11691519 w 12191999"/>
              <a:gd name="connsiteY24" fmla="*/ 6715626 h 6854824"/>
              <a:gd name="connsiteX25" fmla="*/ 11706839 w 12191999"/>
              <a:gd name="connsiteY25" fmla="*/ 6720454 h 6854824"/>
              <a:gd name="connsiteX26" fmla="*/ 11717108 w 12191999"/>
              <a:gd name="connsiteY26" fmla="*/ 6723858 h 6854824"/>
              <a:gd name="connsiteX27" fmla="*/ 11720066 w 12191999"/>
              <a:gd name="connsiteY27" fmla="*/ 6729216 h 6854824"/>
              <a:gd name="connsiteX28" fmla="*/ 11716717 w 12191999"/>
              <a:gd name="connsiteY28" fmla="*/ 6735829 h 6854824"/>
              <a:gd name="connsiteX29" fmla="*/ 11706448 w 12191999"/>
              <a:gd name="connsiteY29" fmla="*/ 6738648 h 6854824"/>
              <a:gd name="connsiteX30" fmla="*/ 11695761 w 12191999"/>
              <a:gd name="connsiteY30" fmla="*/ 6735467 h 6854824"/>
              <a:gd name="connsiteX31" fmla="*/ 11691100 w 12191999"/>
              <a:gd name="connsiteY31" fmla="*/ 6726314 h 6854824"/>
              <a:gd name="connsiteX32" fmla="*/ 11681166 w 12191999"/>
              <a:gd name="connsiteY32" fmla="*/ 6727876 h 6854824"/>
              <a:gd name="connsiteX33" fmla="*/ 11688896 w 12191999"/>
              <a:gd name="connsiteY33" fmla="*/ 6742108 h 6854824"/>
              <a:gd name="connsiteX34" fmla="*/ 11706504 w 12191999"/>
              <a:gd name="connsiteY34" fmla="*/ 6746908 h 6854824"/>
              <a:gd name="connsiteX35" fmla="*/ 11719006 w 12191999"/>
              <a:gd name="connsiteY35" fmla="*/ 6744480 h 6854824"/>
              <a:gd name="connsiteX36" fmla="*/ 11727461 w 12191999"/>
              <a:gd name="connsiteY36" fmla="*/ 6737615 h 6854824"/>
              <a:gd name="connsiteX37" fmla="*/ 11730391 w 12191999"/>
              <a:gd name="connsiteY37" fmla="*/ 6728155 h 6854824"/>
              <a:gd name="connsiteX38" fmla="*/ 11727991 w 12191999"/>
              <a:gd name="connsiteY38" fmla="*/ 6719561 h 6854824"/>
              <a:gd name="connsiteX39" fmla="*/ 11721378 w 12191999"/>
              <a:gd name="connsiteY39" fmla="*/ 6714286 h 6854824"/>
              <a:gd name="connsiteX40" fmla="*/ 11706504 w 12191999"/>
              <a:gd name="connsiteY40" fmla="*/ 6709626 h 6854824"/>
              <a:gd name="connsiteX41" fmla="*/ 11697630 w 12191999"/>
              <a:gd name="connsiteY41" fmla="*/ 6707059 h 6854824"/>
              <a:gd name="connsiteX42" fmla="*/ 11693779 w 12191999"/>
              <a:gd name="connsiteY42" fmla="*/ 6704380 h 6854824"/>
              <a:gd name="connsiteX43" fmla="*/ 11692551 w 12191999"/>
              <a:gd name="connsiteY43" fmla="*/ 6700864 h 6854824"/>
              <a:gd name="connsiteX44" fmla="*/ 11695509 w 12191999"/>
              <a:gd name="connsiteY44" fmla="*/ 6695506 h 6854824"/>
              <a:gd name="connsiteX45" fmla="*/ 11705388 w 12191999"/>
              <a:gd name="connsiteY45" fmla="*/ 6693218 h 6854824"/>
              <a:gd name="connsiteX46" fmla="*/ 11714457 w 12191999"/>
              <a:gd name="connsiteY46" fmla="*/ 6695785 h 6854824"/>
              <a:gd name="connsiteX47" fmla="*/ 11718336 w 12191999"/>
              <a:gd name="connsiteY47" fmla="*/ 6702929 h 6854824"/>
              <a:gd name="connsiteX48" fmla="*/ 11728159 w 12191999"/>
              <a:gd name="connsiteY48" fmla="*/ 6701590 h 6854824"/>
              <a:gd name="connsiteX49" fmla="*/ 11724698 w 12191999"/>
              <a:gd name="connsiteY49" fmla="*/ 6692409 h 6854824"/>
              <a:gd name="connsiteX50" fmla="*/ 11716913 w 12191999"/>
              <a:gd name="connsiteY50" fmla="*/ 6686967 h 6854824"/>
              <a:gd name="connsiteX51" fmla="*/ 11704662 w 12191999"/>
              <a:gd name="connsiteY51" fmla="*/ 6684958 h 6854824"/>
              <a:gd name="connsiteX52" fmla="*/ 11642564 w 12191999"/>
              <a:gd name="connsiteY52" fmla="*/ 6684958 h 6854824"/>
              <a:gd name="connsiteX53" fmla="*/ 11623923 w 12191999"/>
              <a:gd name="connsiteY53" fmla="*/ 6691544 h 6854824"/>
              <a:gd name="connsiteX54" fmla="*/ 11614770 w 12191999"/>
              <a:gd name="connsiteY54" fmla="*/ 6715933 h 6854824"/>
              <a:gd name="connsiteX55" fmla="*/ 11622444 w 12191999"/>
              <a:gd name="connsiteY55" fmla="*/ 6738927 h 6854824"/>
              <a:gd name="connsiteX56" fmla="*/ 11642564 w 12191999"/>
              <a:gd name="connsiteY56" fmla="*/ 6746908 h 6854824"/>
              <a:gd name="connsiteX57" fmla="*/ 11656879 w 12191999"/>
              <a:gd name="connsiteY57" fmla="*/ 6743280 h 6854824"/>
              <a:gd name="connsiteX58" fmla="*/ 11666869 w 12191999"/>
              <a:gd name="connsiteY58" fmla="*/ 6733095 h 6854824"/>
              <a:gd name="connsiteX59" fmla="*/ 11670302 w 12191999"/>
              <a:gd name="connsiteY59" fmla="*/ 6715096 h 6854824"/>
              <a:gd name="connsiteX60" fmla="*/ 11662544 w 12191999"/>
              <a:gd name="connsiteY60" fmla="*/ 6692967 h 6854824"/>
              <a:gd name="connsiteX61" fmla="*/ 11642564 w 12191999"/>
              <a:gd name="connsiteY61" fmla="*/ 6684958 h 6854824"/>
              <a:gd name="connsiteX62" fmla="*/ 11580836 w 12191999"/>
              <a:gd name="connsiteY62" fmla="*/ 6684958 h 6854824"/>
              <a:gd name="connsiteX63" fmla="*/ 11572158 w 12191999"/>
              <a:gd name="connsiteY63" fmla="*/ 6686158 h 6854824"/>
              <a:gd name="connsiteX64" fmla="*/ 11565767 w 12191999"/>
              <a:gd name="connsiteY64" fmla="*/ 6689088 h 6854824"/>
              <a:gd name="connsiteX65" fmla="*/ 11560828 w 12191999"/>
              <a:gd name="connsiteY65" fmla="*/ 6694697 h 6854824"/>
              <a:gd name="connsiteX66" fmla="*/ 11559014 w 12191999"/>
              <a:gd name="connsiteY66" fmla="*/ 6702036 h 6854824"/>
              <a:gd name="connsiteX67" fmla="*/ 11561219 w 12191999"/>
              <a:gd name="connsiteY67" fmla="*/ 6709989 h 6854824"/>
              <a:gd name="connsiteX68" fmla="*/ 11567693 w 12191999"/>
              <a:gd name="connsiteY68" fmla="*/ 6715626 h 6854824"/>
              <a:gd name="connsiteX69" fmla="*/ 11583013 w 12191999"/>
              <a:gd name="connsiteY69" fmla="*/ 6720454 h 6854824"/>
              <a:gd name="connsiteX70" fmla="*/ 11593282 w 12191999"/>
              <a:gd name="connsiteY70" fmla="*/ 6723858 h 6854824"/>
              <a:gd name="connsiteX71" fmla="*/ 11596240 w 12191999"/>
              <a:gd name="connsiteY71" fmla="*/ 6729216 h 6854824"/>
              <a:gd name="connsiteX72" fmla="*/ 11592891 w 12191999"/>
              <a:gd name="connsiteY72" fmla="*/ 6735829 h 6854824"/>
              <a:gd name="connsiteX73" fmla="*/ 11582622 w 12191999"/>
              <a:gd name="connsiteY73" fmla="*/ 6738648 h 6854824"/>
              <a:gd name="connsiteX74" fmla="*/ 11571935 w 12191999"/>
              <a:gd name="connsiteY74" fmla="*/ 6735467 h 6854824"/>
              <a:gd name="connsiteX75" fmla="*/ 11567274 w 12191999"/>
              <a:gd name="connsiteY75" fmla="*/ 6726314 h 6854824"/>
              <a:gd name="connsiteX76" fmla="*/ 11557340 w 12191999"/>
              <a:gd name="connsiteY76" fmla="*/ 6727876 h 6854824"/>
              <a:gd name="connsiteX77" fmla="*/ 11565070 w 12191999"/>
              <a:gd name="connsiteY77" fmla="*/ 6742108 h 6854824"/>
              <a:gd name="connsiteX78" fmla="*/ 11582678 w 12191999"/>
              <a:gd name="connsiteY78" fmla="*/ 6746908 h 6854824"/>
              <a:gd name="connsiteX79" fmla="*/ 11595180 w 12191999"/>
              <a:gd name="connsiteY79" fmla="*/ 6744480 h 6854824"/>
              <a:gd name="connsiteX80" fmla="*/ 11603635 w 12191999"/>
              <a:gd name="connsiteY80" fmla="*/ 6737615 h 6854824"/>
              <a:gd name="connsiteX81" fmla="*/ 11606565 w 12191999"/>
              <a:gd name="connsiteY81" fmla="*/ 6728155 h 6854824"/>
              <a:gd name="connsiteX82" fmla="*/ 11604165 w 12191999"/>
              <a:gd name="connsiteY82" fmla="*/ 6719561 h 6854824"/>
              <a:gd name="connsiteX83" fmla="*/ 11597552 w 12191999"/>
              <a:gd name="connsiteY83" fmla="*/ 6714286 h 6854824"/>
              <a:gd name="connsiteX84" fmla="*/ 11582678 w 12191999"/>
              <a:gd name="connsiteY84" fmla="*/ 6709626 h 6854824"/>
              <a:gd name="connsiteX85" fmla="*/ 11573804 w 12191999"/>
              <a:gd name="connsiteY85" fmla="*/ 6707059 h 6854824"/>
              <a:gd name="connsiteX86" fmla="*/ 11569953 w 12191999"/>
              <a:gd name="connsiteY86" fmla="*/ 6704380 h 6854824"/>
              <a:gd name="connsiteX87" fmla="*/ 11568725 w 12191999"/>
              <a:gd name="connsiteY87" fmla="*/ 6700864 h 6854824"/>
              <a:gd name="connsiteX88" fmla="*/ 11571683 w 12191999"/>
              <a:gd name="connsiteY88" fmla="*/ 6695506 h 6854824"/>
              <a:gd name="connsiteX89" fmla="*/ 11581562 w 12191999"/>
              <a:gd name="connsiteY89" fmla="*/ 6693218 h 6854824"/>
              <a:gd name="connsiteX90" fmla="*/ 11590631 w 12191999"/>
              <a:gd name="connsiteY90" fmla="*/ 6695785 h 6854824"/>
              <a:gd name="connsiteX91" fmla="*/ 11594510 w 12191999"/>
              <a:gd name="connsiteY91" fmla="*/ 6702929 h 6854824"/>
              <a:gd name="connsiteX92" fmla="*/ 11604333 w 12191999"/>
              <a:gd name="connsiteY92" fmla="*/ 6701590 h 6854824"/>
              <a:gd name="connsiteX93" fmla="*/ 11600872 w 12191999"/>
              <a:gd name="connsiteY93" fmla="*/ 6692409 h 6854824"/>
              <a:gd name="connsiteX94" fmla="*/ 11593087 w 12191999"/>
              <a:gd name="connsiteY94" fmla="*/ 6686967 h 6854824"/>
              <a:gd name="connsiteX95" fmla="*/ 11580836 w 12191999"/>
              <a:gd name="connsiteY95" fmla="*/ 6684958 h 6854824"/>
              <a:gd name="connsiteX96" fmla="*/ 11523407 w 12191999"/>
              <a:gd name="connsiteY96" fmla="*/ 6684958 h 6854824"/>
              <a:gd name="connsiteX97" fmla="*/ 11513529 w 12191999"/>
              <a:gd name="connsiteY97" fmla="*/ 6687218 h 6854824"/>
              <a:gd name="connsiteX98" fmla="*/ 11506217 w 12191999"/>
              <a:gd name="connsiteY98" fmla="*/ 6693999 h 6854824"/>
              <a:gd name="connsiteX99" fmla="*/ 11506217 w 12191999"/>
              <a:gd name="connsiteY99" fmla="*/ 6686297 h 6854824"/>
              <a:gd name="connsiteX100" fmla="*/ 11497064 w 12191999"/>
              <a:gd name="connsiteY100" fmla="*/ 6686297 h 6854824"/>
              <a:gd name="connsiteX101" fmla="*/ 11497064 w 12191999"/>
              <a:gd name="connsiteY101" fmla="*/ 6768283 h 6854824"/>
              <a:gd name="connsiteX102" fmla="*/ 11507110 w 12191999"/>
              <a:gd name="connsiteY102" fmla="*/ 6768283 h 6854824"/>
              <a:gd name="connsiteX103" fmla="*/ 11507110 w 12191999"/>
              <a:gd name="connsiteY103" fmla="*/ 6739429 h 6854824"/>
              <a:gd name="connsiteX104" fmla="*/ 11513668 w 12191999"/>
              <a:gd name="connsiteY104" fmla="*/ 6744787 h 6854824"/>
              <a:gd name="connsiteX105" fmla="*/ 11522681 w 12191999"/>
              <a:gd name="connsiteY105" fmla="*/ 6746908 h 6854824"/>
              <a:gd name="connsiteX106" fmla="*/ 11535769 w 12191999"/>
              <a:gd name="connsiteY106" fmla="*/ 6743029 h 6854824"/>
              <a:gd name="connsiteX107" fmla="*/ 11545257 w 12191999"/>
              <a:gd name="connsiteY107" fmla="*/ 6731867 h 6854824"/>
              <a:gd name="connsiteX108" fmla="*/ 11548522 w 12191999"/>
              <a:gd name="connsiteY108" fmla="*/ 6715486 h 6854824"/>
              <a:gd name="connsiteX109" fmla="*/ 11545564 w 12191999"/>
              <a:gd name="connsiteY109" fmla="*/ 6699887 h 6854824"/>
              <a:gd name="connsiteX110" fmla="*/ 11536802 w 12191999"/>
              <a:gd name="connsiteY110" fmla="*/ 6688865 h 6854824"/>
              <a:gd name="connsiteX111" fmla="*/ 11523407 w 12191999"/>
              <a:gd name="connsiteY111" fmla="*/ 6684958 h 6854824"/>
              <a:gd name="connsiteX112" fmla="*/ 11387081 w 12191999"/>
              <a:gd name="connsiteY112" fmla="*/ 6678447 h 6854824"/>
              <a:gd name="connsiteX113" fmla="*/ 11375277 w 12191999"/>
              <a:gd name="connsiteY113" fmla="*/ 6681210 h 6854824"/>
              <a:gd name="connsiteX114" fmla="*/ 11367324 w 12191999"/>
              <a:gd name="connsiteY114" fmla="*/ 6689414 h 6854824"/>
              <a:gd name="connsiteX115" fmla="*/ 11364533 w 12191999"/>
              <a:gd name="connsiteY115" fmla="*/ 6702222 h 6854824"/>
              <a:gd name="connsiteX116" fmla="*/ 11370672 w 12191999"/>
              <a:gd name="connsiteY116" fmla="*/ 6719858 h 6854824"/>
              <a:gd name="connsiteX117" fmla="*/ 11386634 w 12191999"/>
              <a:gd name="connsiteY117" fmla="*/ 6726221 h 6854824"/>
              <a:gd name="connsiteX118" fmla="*/ 11399833 w 12191999"/>
              <a:gd name="connsiteY118" fmla="*/ 6722063 h 6854824"/>
              <a:gd name="connsiteX119" fmla="*/ 11406949 w 12191999"/>
              <a:gd name="connsiteY119" fmla="*/ 6710929 h 6854824"/>
              <a:gd name="connsiteX120" fmla="*/ 11400085 w 12191999"/>
              <a:gd name="connsiteY120" fmla="*/ 6708920 h 6854824"/>
              <a:gd name="connsiteX121" fmla="*/ 11395062 w 12191999"/>
              <a:gd name="connsiteY121" fmla="*/ 6716789 h 6854824"/>
              <a:gd name="connsiteX122" fmla="*/ 11386244 w 12191999"/>
              <a:gd name="connsiteY122" fmla="*/ 6719691 h 6854824"/>
              <a:gd name="connsiteX123" fmla="*/ 11376058 w 12191999"/>
              <a:gd name="connsiteY123" fmla="*/ 6715310 h 6854824"/>
              <a:gd name="connsiteX124" fmla="*/ 11372123 w 12191999"/>
              <a:gd name="connsiteY124" fmla="*/ 6702390 h 6854824"/>
              <a:gd name="connsiteX125" fmla="*/ 11376281 w 12191999"/>
              <a:gd name="connsiteY125" fmla="*/ 6689274 h 6854824"/>
              <a:gd name="connsiteX126" fmla="*/ 11386857 w 12191999"/>
              <a:gd name="connsiteY126" fmla="*/ 6684698 h 6854824"/>
              <a:gd name="connsiteX127" fmla="*/ 11394531 w 12191999"/>
              <a:gd name="connsiteY127" fmla="*/ 6686902 h 6854824"/>
              <a:gd name="connsiteX128" fmla="*/ 11399471 w 12191999"/>
              <a:gd name="connsiteY128" fmla="*/ 6693237 h 6854824"/>
              <a:gd name="connsiteX129" fmla="*/ 11406112 w 12191999"/>
              <a:gd name="connsiteY129" fmla="*/ 6691618 h 6854824"/>
              <a:gd name="connsiteX130" fmla="*/ 11399415 w 12191999"/>
              <a:gd name="connsiteY130" fmla="*/ 6681991 h 6854824"/>
              <a:gd name="connsiteX131" fmla="*/ 11387081 w 12191999"/>
              <a:gd name="connsiteY131" fmla="*/ 6678447 h 6854824"/>
              <a:gd name="connsiteX132" fmla="*/ 11386578 w 12191999"/>
              <a:gd name="connsiteY132" fmla="*/ 6669331 h 6854824"/>
              <a:gd name="connsiteX133" fmla="*/ 11403824 w 12191999"/>
              <a:gd name="connsiteY133" fmla="*/ 6673880 h 6854824"/>
              <a:gd name="connsiteX134" fmla="*/ 11416967 w 12191999"/>
              <a:gd name="connsiteY134" fmla="*/ 6686883 h 6854824"/>
              <a:gd name="connsiteX135" fmla="*/ 11421683 w 12191999"/>
              <a:gd name="connsiteY135" fmla="*/ 6704492 h 6854824"/>
              <a:gd name="connsiteX136" fmla="*/ 11417051 w 12191999"/>
              <a:gd name="connsiteY136" fmla="*/ 6721932 h 6854824"/>
              <a:gd name="connsiteX137" fmla="*/ 11404047 w 12191999"/>
              <a:gd name="connsiteY137" fmla="*/ 6734936 h 6854824"/>
              <a:gd name="connsiteX138" fmla="*/ 11386578 w 12191999"/>
              <a:gd name="connsiteY138" fmla="*/ 6739597 h 6854824"/>
              <a:gd name="connsiteX139" fmla="*/ 11369110 w 12191999"/>
              <a:gd name="connsiteY139" fmla="*/ 6734936 h 6854824"/>
              <a:gd name="connsiteX140" fmla="*/ 11356078 w 12191999"/>
              <a:gd name="connsiteY140" fmla="*/ 6721932 h 6854824"/>
              <a:gd name="connsiteX141" fmla="*/ 11351418 w 12191999"/>
              <a:gd name="connsiteY141" fmla="*/ 6704492 h 6854824"/>
              <a:gd name="connsiteX142" fmla="*/ 11356162 w 12191999"/>
              <a:gd name="connsiteY142" fmla="*/ 6686883 h 6854824"/>
              <a:gd name="connsiteX143" fmla="*/ 11369305 w 12191999"/>
              <a:gd name="connsiteY143" fmla="*/ 6673880 h 6854824"/>
              <a:gd name="connsiteX144" fmla="*/ 11386578 w 12191999"/>
              <a:gd name="connsiteY144" fmla="*/ 6669331 h 6854824"/>
              <a:gd name="connsiteX145" fmla="*/ 11469234 w 12191999"/>
              <a:gd name="connsiteY145" fmla="*/ 6663750 h 6854824"/>
              <a:gd name="connsiteX146" fmla="*/ 11469234 w 12191999"/>
              <a:gd name="connsiteY146" fmla="*/ 6745568 h 6854824"/>
              <a:gd name="connsiteX147" fmla="*/ 11480061 w 12191999"/>
              <a:gd name="connsiteY147" fmla="*/ 6745568 h 6854824"/>
              <a:gd name="connsiteX148" fmla="*/ 11480061 w 12191999"/>
              <a:gd name="connsiteY148" fmla="*/ 6663750 h 6854824"/>
              <a:gd name="connsiteX149" fmla="*/ 11386578 w 12191999"/>
              <a:gd name="connsiteY149" fmla="*/ 6662355 h 6854824"/>
              <a:gd name="connsiteX150" fmla="*/ 11365873 w 12191999"/>
              <a:gd name="connsiteY150" fmla="*/ 6667796 h 6854824"/>
              <a:gd name="connsiteX151" fmla="*/ 11350106 w 12191999"/>
              <a:gd name="connsiteY151" fmla="*/ 6683367 h 6854824"/>
              <a:gd name="connsiteX152" fmla="*/ 11344441 w 12191999"/>
              <a:gd name="connsiteY152" fmla="*/ 6704492 h 6854824"/>
              <a:gd name="connsiteX153" fmla="*/ 11350022 w 12191999"/>
              <a:gd name="connsiteY153" fmla="*/ 6725421 h 6854824"/>
              <a:gd name="connsiteX154" fmla="*/ 11365622 w 12191999"/>
              <a:gd name="connsiteY154" fmla="*/ 6741020 h 6854824"/>
              <a:gd name="connsiteX155" fmla="*/ 11386578 w 12191999"/>
              <a:gd name="connsiteY155" fmla="*/ 6746573 h 6854824"/>
              <a:gd name="connsiteX156" fmla="*/ 11407535 w 12191999"/>
              <a:gd name="connsiteY156" fmla="*/ 6741020 h 6854824"/>
              <a:gd name="connsiteX157" fmla="*/ 11423106 w 12191999"/>
              <a:gd name="connsiteY157" fmla="*/ 6725421 h 6854824"/>
              <a:gd name="connsiteX158" fmla="*/ 11428660 w 12191999"/>
              <a:gd name="connsiteY158" fmla="*/ 6704492 h 6854824"/>
              <a:gd name="connsiteX159" fmla="*/ 11423023 w 12191999"/>
              <a:gd name="connsiteY159" fmla="*/ 6683367 h 6854824"/>
              <a:gd name="connsiteX160" fmla="*/ 11407284 w 12191999"/>
              <a:gd name="connsiteY160" fmla="*/ 6667796 h 6854824"/>
              <a:gd name="connsiteX161" fmla="*/ 11386578 w 12191999"/>
              <a:gd name="connsiteY161" fmla="*/ 6662355 h 6854824"/>
              <a:gd name="connsiteX162" fmla="*/ 818352 w 12191999"/>
              <a:gd name="connsiteY162" fmla="*/ 6201649 h 6854824"/>
              <a:gd name="connsiteX163" fmla="*/ 818352 w 12191999"/>
              <a:gd name="connsiteY163" fmla="*/ 6597649 h 6854824"/>
              <a:gd name="connsiteX164" fmla="*/ 824702 w 12191999"/>
              <a:gd name="connsiteY164" fmla="*/ 6597649 h 6854824"/>
              <a:gd name="connsiteX165" fmla="*/ 824702 w 12191999"/>
              <a:gd name="connsiteY165" fmla="*/ 6201649 h 6854824"/>
              <a:gd name="connsiteX166" fmla="*/ 11344275 w 12191999"/>
              <a:gd name="connsiteY166" fmla="*/ 6196639 h 6854824"/>
              <a:gd name="connsiteX167" fmla="*/ 11344275 w 12191999"/>
              <a:gd name="connsiteY167" fmla="*/ 6534644 h 6854824"/>
              <a:gd name="connsiteX168" fmla="*/ 11344275 w 12191999"/>
              <a:gd name="connsiteY168" fmla="*/ 6605968 h 6854824"/>
              <a:gd name="connsiteX169" fmla="*/ 11737507 w 12191999"/>
              <a:gd name="connsiteY169" fmla="*/ 6605968 h 6854824"/>
              <a:gd name="connsiteX170" fmla="*/ 11755855 w 12191999"/>
              <a:gd name="connsiteY170" fmla="*/ 6553660 h 6854824"/>
              <a:gd name="connsiteX171" fmla="*/ 11780876 w 12191999"/>
              <a:gd name="connsiteY171" fmla="*/ 6196639 h 6854824"/>
              <a:gd name="connsiteX172" fmla="*/ 11344275 w 12191999"/>
              <a:gd name="connsiteY172" fmla="*/ 6196639 h 6854824"/>
              <a:gd name="connsiteX173" fmla="*/ 0 w 12191999"/>
              <a:gd name="connsiteY173" fmla="*/ 0 h 6854824"/>
              <a:gd name="connsiteX174" fmla="*/ 12191999 w 12191999"/>
              <a:gd name="connsiteY174" fmla="*/ 0 h 6854824"/>
              <a:gd name="connsiteX175" fmla="*/ 12191999 w 12191999"/>
              <a:gd name="connsiteY175" fmla="*/ 6854824 h 6854824"/>
              <a:gd name="connsiteX176" fmla="*/ 0 w 12191999"/>
              <a:gd name="connsiteY176" fmla="*/ 685482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2191999" h="6854824">
                <a:moveTo>
                  <a:pt x="11642564" y="6693274"/>
                </a:moveTo>
                <a:cubicBezTo>
                  <a:pt x="11647512" y="6693274"/>
                  <a:pt x="11651652" y="6695162"/>
                  <a:pt x="11654982" y="6698939"/>
                </a:cubicBezTo>
                <a:cubicBezTo>
                  <a:pt x="11658312" y="6702715"/>
                  <a:pt x="11659977" y="6708268"/>
                  <a:pt x="11659977" y="6715598"/>
                </a:cubicBezTo>
                <a:cubicBezTo>
                  <a:pt x="11659977" y="6723374"/>
                  <a:pt x="11658321" y="6729160"/>
                  <a:pt x="11655010" y="6732955"/>
                </a:cubicBezTo>
                <a:cubicBezTo>
                  <a:pt x="11651698" y="6736750"/>
                  <a:pt x="11647549" y="6738648"/>
                  <a:pt x="11642564" y="6738648"/>
                </a:cubicBezTo>
                <a:cubicBezTo>
                  <a:pt x="11637541" y="6738648"/>
                  <a:pt x="11633374" y="6736759"/>
                  <a:pt x="11630062" y="6732983"/>
                </a:cubicBezTo>
                <a:cubicBezTo>
                  <a:pt x="11626751" y="6729206"/>
                  <a:pt x="11625095" y="6723523"/>
                  <a:pt x="11625095" y="6715933"/>
                </a:cubicBezTo>
                <a:cubicBezTo>
                  <a:pt x="11625095" y="6708343"/>
                  <a:pt x="11626751" y="6702669"/>
                  <a:pt x="11630062" y="6698911"/>
                </a:cubicBezTo>
                <a:cubicBezTo>
                  <a:pt x="11633374" y="6695153"/>
                  <a:pt x="11637541" y="6693274"/>
                  <a:pt x="11642564" y="6693274"/>
                </a:cubicBezTo>
                <a:close/>
                <a:moveTo>
                  <a:pt x="11522458" y="6692827"/>
                </a:moveTo>
                <a:cubicBezTo>
                  <a:pt x="11526774" y="6692827"/>
                  <a:pt x="11530486" y="6694706"/>
                  <a:pt x="11533592" y="6698464"/>
                </a:cubicBezTo>
                <a:cubicBezTo>
                  <a:pt x="11536699" y="6702222"/>
                  <a:pt x="11538253" y="6707878"/>
                  <a:pt x="11538253" y="6715431"/>
                </a:cubicBezTo>
                <a:cubicBezTo>
                  <a:pt x="11538253" y="6723356"/>
                  <a:pt x="11536662" y="6729206"/>
                  <a:pt x="11533481" y="6732983"/>
                </a:cubicBezTo>
                <a:cubicBezTo>
                  <a:pt x="11530300" y="6736759"/>
                  <a:pt x="11526477" y="6738648"/>
                  <a:pt x="11522012" y="6738648"/>
                </a:cubicBezTo>
                <a:cubicBezTo>
                  <a:pt x="11517621" y="6738648"/>
                  <a:pt x="11513882" y="6736825"/>
                  <a:pt x="11510794" y="6733178"/>
                </a:cubicBezTo>
                <a:cubicBezTo>
                  <a:pt x="11507706" y="6729532"/>
                  <a:pt x="11506162" y="6723895"/>
                  <a:pt x="11506162" y="6716268"/>
                </a:cubicBezTo>
                <a:cubicBezTo>
                  <a:pt x="11506162" y="6708640"/>
                  <a:pt x="11507808" y="6702827"/>
                  <a:pt x="11511101" y="6698827"/>
                </a:cubicBezTo>
                <a:cubicBezTo>
                  <a:pt x="11514394" y="6694827"/>
                  <a:pt x="11518179" y="6692827"/>
                  <a:pt x="11522458" y="6692827"/>
                </a:cubicBezTo>
                <a:close/>
                <a:moveTo>
                  <a:pt x="11704662" y="6684958"/>
                </a:moveTo>
                <a:cubicBezTo>
                  <a:pt x="11701574" y="6684958"/>
                  <a:pt x="11698681" y="6685358"/>
                  <a:pt x="11695984" y="6686158"/>
                </a:cubicBezTo>
                <a:cubicBezTo>
                  <a:pt x="11693286" y="6686958"/>
                  <a:pt x="11691156" y="6687935"/>
                  <a:pt x="11689593" y="6689088"/>
                </a:cubicBezTo>
                <a:cubicBezTo>
                  <a:pt x="11687510" y="6690576"/>
                  <a:pt x="11685863" y="6692446"/>
                  <a:pt x="11684654" y="6694697"/>
                </a:cubicBezTo>
                <a:cubicBezTo>
                  <a:pt x="11683445" y="6696948"/>
                  <a:pt x="11682840" y="6699394"/>
                  <a:pt x="11682840" y="6702036"/>
                </a:cubicBezTo>
                <a:cubicBezTo>
                  <a:pt x="11682840" y="6704938"/>
                  <a:pt x="11683575" y="6707589"/>
                  <a:pt x="11685045" y="6709989"/>
                </a:cubicBezTo>
                <a:cubicBezTo>
                  <a:pt x="11686515" y="6712389"/>
                  <a:pt x="11688673" y="6714268"/>
                  <a:pt x="11691519" y="6715626"/>
                </a:cubicBezTo>
                <a:cubicBezTo>
                  <a:pt x="11694365" y="6716984"/>
                  <a:pt x="11699472" y="6718593"/>
                  <a:pt x="11706839" y="6720454"/>
                </a:cubicBezTo>
                <a:cubicBezTo>
                  <a:pt x="11712308" y="6721830"/>
                  <a:pt x="11715731" y="6722965"/>
                  <a:pt x="11717108" y="6723858"/>
                </a:cubicBezTo>
                <a:cubicBezTo>
                  <a:pt x="11719080" y="6725160"/>
                  <a:pt x="11720066" y="6726946"/>
                  <a:pt x="11720066" y="6729216"/>
                </a:cubicBezTo>
                <a:cubicBezTo>
                  <a:pt x="11720066" y="6731746"/>
                  <a:pt x="11718950" y="6733950"/>
                  <a:pt x="11716717" y="6735829"/>
                </a:cubicBezTo>
                <a:cubicBezTo>
                  <a:pt x="11714485" y="6737708"/>
                  <a:pt x="11711062" y="6738648"/>
                  <a:pt x="11706448" y="6738648"/>
                </a:cubicBezTo>
                <a:cubicBezTo>
                  <a:pt x="11701872" y="6738648"/>
                  <a:pt x="11698309" y="6737587"/>
                  <a:pt x="11695761" y="6735467"/>
                </a:cubicBezTo>
                <a:cubicBezTo>
                  <a:pt x="11693212" y="6733346"/>
                  <a:pt x="11691658" y="6730295"/>
                  <a:pt x="11691100" y="6726314"/>
                </a:cubicBezTo>
                <a:lnTo>
                  <a:pt x="11681166" y="6727876"/>
                </a:lnTo>
                <a:cubicBezTo>
                  <a:pt x="11682282" y="6734164"/>
                  <a:pt x="11684859" y="6738908"/>
                  <a:pt x="11688896" y="6742108"/>
                </a:cubicBezTo>
                <a:cubicBezTo>
                  <a:pt x="11692933" y="6745308"/>
                  <a:pt x="11698802" y="6746908"/>
                  <a:pt x="11706504" y="6746908"/>
                </a:cubicBezTo>
                <a:cubicBezTo>
                  <a:pt x="11711155" y="6746908"/>
                  <a:pt x="11715322" y="6746098"/>
                  <a:pt x="11719006" y="6744480"/>
                </a:cubicBezTo>
                <a:cubicBezTo>
                  <a:pt x="11722689" y="6742861"/>
                  <a:pt x="11725508" y="6740573"/>
                  <a:pt x="11727461" y="6737615"/>
                </a:cubicBezTo>
                <a:cubicBezTo>
                  <a:pt x="11729414" y="6734657"/>
                  <a:pt x="11730391" y="6731504"/>
                  <a:pt x="11730391" y="6728155"/>
                </a:cubicBezTo>
                <a:cubicBezTo>
                  <a:pt x="11730391" y="6724732"/>
                  <a:pt x="11729591" y="6721867"/>
                  <a:pt x="11727991" y="6719561"/>
                </a:cubicBezTo>
                <a:cubicBezTo>
                  <a:pt x="11726391" y="6717254"/>
                  <a:pt x="11724187" y="6715496"/>
                  <a:pt x="11721378" y="6714286"/>
                </a:cubicBezTo>
                <a:cubicBezTo>
                  <a:pt x="11718568" y="6713077"/>
                  <a:pt x="11713611" y="6711524"/>
                  <a:pt x="11706504" y="6709626"/>
                </a:cubicBezTo>
                <a:cubicBezTo>
                  <a:pt x="11701593" y="6708287"/>
                  <a:pt x="11698635" y="6707431"/>
                  <a:pt x="11697630" y="6707059"/>
                </a:cubicBezTo>
                <a:cubicBezTo>
                  <a:pt x="11695881" y="6706352"/>
                  <a:pt x="11694598" y="6705459"/>
                  <a:pt x="11693779" y="6704380"/>
                </a:cubicBezTo>
                <a:cubicBezTo>
                  <a:pt x="11692961" y="6703338"/>
                  <a:pt x="11692551" y="6702166"/>
                  <a:pt x="11692551" y="6700864"/>
                </a:cubicBezTo>
                <a:cubicBezTo>
                  <a:pt x="11692551" y="6698818"/>
                  <a:pt x="11693537" y="6697032"/>
                  <a:pt x="11695509" y="6695506"/>
                </a:cubicBezTo>
                <a:cubicBezTo>
                  <a:pt x="11697481" y="6693981"/>
                  <a:pt x="11700774" y="6693218"/>
                  <a:pt x="11705388" y="6693218"/>
                </a:cubicBezTo>
                <a:cubicBezTo>
                  <a:pt x="11709295" y="6693218"/>
                  <a:pt x="11712318" y="6694074"/>
                  <a:pt x="11714457" y="6695785"/>
                </a:cubicBezTo>
                <a:cubicBezTo>
                  <a:pt x="11716596" y="6697497"/>
                  <a:pt x="11717889" y="6699878"/>
                  <a:pt x="11718336" y="6702929"/>
                </a:cubicBezTo>
                <a:lnTo>
                  <a:pt x="11728159" y="6701590"/>
                </a:lnTo>
                <a:cubicBezTo>
                  <a:pt x="11727526" y="6697757"/>
                  <a:pt x="11726373" y="6694697"/>
                  <a:pt x="11724698" y="6692409"/>
                </a:cubicBezTo>
                <a:cubicBezTo>
                  <a:pt x="11723024" y="6690120"/>
                  <a:pt x="11720429" y="6688307"/>
                  <a:pt x="11716913" y="6686967"/>
                </a:cubicBezTo>
                <a:cubicBezTo>
                  <a:pt x="11713397" y="6685628"/>
                  <a:pt x="11709313" y="6684958"/>
                  <a:pt x="11704662" y="6684958"/>
                </a:cubicBezTo>
                <a:close/>
                <a:moveTo>
                  <a:pt x="11642564" y="6684958"/>
                </a:moveTo>
                <a:cubicBezTo>
                  <a:pt x="11635234" y="6684958"/>
                  <a:pt x="11629020" y="6687153"/>
                  <a:pt x="11623923" y="6691544"/>
                </a:cubicBezTo>
                <a:cubicBezTo>
                  <a:pt x="11617821" y="6696827"/>
                  <a:pt x="11614770" y="6704957"/>
                  <a:pt x="11614770" y="6715933"/>
                </a:cubicBezTo>
                <a:cubicBezTo>
                  <a:pt x="11614770" y="6725942"/>
                  <a:pt x="11617328" y="6733606"/>
                  <a:pt x="11622444" y="6738927"/>
                </a:cubicBezTo>
                <a:cubicBezTo>
                  <a:pt x="11627560" y="6744247"/>
                  <a:pt x="11634267" y="6746908"/>
                  <a:pt x="11642564" y="6746908"/>
                </a:cubicBezTo>
                <a:cubicBezTo>
                  <a:pt x="11647736" y="6746908"/>
                  <a:pt x="11652507" y="6745698"/>
                  <a:pt x="11656879" y="6743280"/>
                </a:cubicBezTo>
                <a:cubicBezTo>
                  <a:pt x="11661251" y="6740862"/>
                  <a:pt x="11664581" y="6737466"/>
                  <a:pt x="11666869" y="6733095"/>
                </a:cubicBezTo>
                <a:cubicBezTo>
                  <a:pt x="11669157" y="6728723"/>
                  <a:pt x="11670302" y="6722723"/>
                  <a:pt x="11670302" y="6715096"/>
                </a:cubicBezTo>
                <a:cubicBezTo>
                  <a:pt x="11670302" y="6705682"/>
                  <a:pt x="11667716" y="6698306"/>
                  <a:pt x="11662544" y="6692967"/>
                </a:cubicBezTo>
                <a:cubicBezTo>
                  <a:pt x="11657372" y="6687628"/>
                  <a:pt x="11650712" y="6684958"/>
                  <a:pt x="11642564" y="6684958"/>
                </a:cubicBezTo>
                <a:close/>
                <a:moveTo>
                  <a:pt x="11580836" y="6684958"/>
                </a:moveTo>
                <a:cubicBezTo>
                  <a:pt x="11577748" y="6684958"/>
                  <a:pt x="11574855" y="6685358"/>
                  <a:pt x="11572158" y="6686158"/>
                </a:cubicBezTo>
                <a:cubicBezTo>
                  <a:pt x="11569460" y="6686958"/>
                  <a:pt x="11567330" y="6687935"/>
                  <a:pt x="11565767" y="6689088"/>
                </a:cubicBezTo>
                <a:cubicBezTo>
                  <a:pt x="11563684" y="6690576"/>
                  <a:pt x="11562037" y="6692446"/>
                  <a:pt x="11560828" y="6694697"/>
                </a:cubicBezTo>
                <a:cubicBezTo>
                  <a:pt x="11559619" y="6696948"/>
                  <a:pt x="11559014" y="6699394"/>
                  <a:pt x="11559014" y="6702036"/>
                </a:cubicBezTo>
                <a:cubicBezTo>
                  <a:pt x="11559014" y="6704938"/>
                  <a:pt x="11559749" y="6707589"/>
                  <a:pt x="11561219" y="6709989"/>
                </a:cubicBezTo>
                <a:cubicBezTo>
                  <a:pt x="11562689" y="6712389"/>
                  <a:pt x="11564847" y="6714268"/>
                  <a:pt x="11567693" y="6715626"/>
                </a:cubicBezTo>
                <a:cubicBezTo>
                  <a:pt x="11570539" y="6716984"/>
                  <a:pt x="11575646" y="6718593"/>
                  <a:pt x="11583013" y="6720454"/>
                </a:cubicBezTo>
                <a:cubicBezTo>
                  <a:pt x="11588482" y="6721830"/>
                  <a:pt x="11591905" y="6722965"/>
                  <a:pt x="11593282" y="6723858"/>
                </a:cubicBezTo>
                <a:cubicBezTo>
                  <a:pt x="11595254" y="6725160"/>
                  <a:pt x="11596240" y="6726946"/>
                  <a:pt x="11596240" y="6729216"/>
                </a:cubicBezTo>
                <a:cubicBezTo>
                  <a:pt x="11596240" y="6731746"/>
                  <a:pt x="11595124" y="6733950"/>
                  <a:pt x="11592891" y="6735829"/>
                </a:cubicBezTo>
                <a:cubicBezTo>
                  <a:pt x="11590659" y="6737708"/>
                  <a:pt x="11587236" y="6738648"/>
                  <a:pt x="11582622" y="6738648"/>
                </a:cubicBezTo>
                <a:cubicBezTo>
                  <a:pt x="11578046" y="6738648"/>
                  <a:pt x="11574483" y="6737587"/>
                  <a:pt x="11571935" y="6735467"/>
                </a:cubicBezTo>
                <a:cubicBezTo>
                  <a:pt x="11569386" y="6733346"/>
                  <a:pt x="11567832" y="6730295"/>
                  <a:pt x="11567274" y="6726314"/>
                </a:cubicBezTo>
                <a:lnTo>
                  <a:pt x="11557340" y="6727876"/>
                </a:lnTo>
                <a:cubicBezTo>
                  <a:pt x="11558456" y="6734164"/>
                  <a:pt x="11561033" y="6738908"/>
                  <a:pt x="11565070" y="6742108"/>
                </a:cubicBezTo>
                <a:cubicBezTo>
                  <a:pt x="11569107" y="6745308"/>
                  <a:pt x="11574976" y="6746908"/>
                  <a:pt x="11582678" y="6746908"/>
                </a:cubicBezTo>
                <a:cubicBezTo>
                  <a:pt x="11587329" y="6746908"/>
                  <a:pt x="11591496" y="6746098"/>
                  <a:pt x="11595180" y="6744480"/>
                </a:cubicBezTo>
                <a:cubicBezTo>
                  <a:pt x="11598863" y="6742861"/>
                  <a:pt x="11601682" y="6740573"/>
                  <a:pt x="11603635" y="6737615"/>
                </a:cubicBezTo>
                <a:cubicBezTo>
                  <a:pt x="11605588" y="6734657"/>
                  <a:pt x="11606565" y="6731504"/>
                  <a:pt x="11606565" y="6728155"/>
                </a:cubicBezTo>
                <a:cubicBezTo>
                  <a:pt x="11606565" y="6724732"/>
                  <a:pt x="11605765" y="6721867"/>
                  <a:pt x="11604165" y="6719561"/>
                </a:cubicBezTo>
                <a:cubicBezTo>
                  <a:pt x="11602565" y="6717254"/>
                  <a:pt x="11600361" y="6715496"/>
                  <a:pt x="11597552" y="6714286"/>
                </a:cubicBezTo>
                <a:cubicBezTo>
                  <a:pt x="11594742" y="6713077"/>
                  <a:pt x="11589785" y="6711524"/>
                  <a:pt x="11582678" y="6709626"/>
                </a:cubicBezTo>
                <a:cubicBezTo>
                  <a:pt x="11577767" y="6708287"/>
                  <a:pt x="11574809" y="6707431"/>
                  <a:pt x="11573804" y="6707059"/>
                </a:cubicBezTo>
                <a:cubicBezTo>
                  <a:pt x="11572055" y="6706352"/>
                  <a:pt x="11570772" y="6705459"/>
                  <a:pt x="11569953" y="6704380"/>
                </a:cubicBezTo>
                <a:cubicBezTo>
                  <a:pt x="11569135" y="6703338"/>
                  <a:pt x="11568725" y="6702166"/>
                  <a:pt x="11568725" y="6700864"/>
                </a:cubicBezTo>
                <a:cubicBezTo>
                  <a:pt x="11568725" y="6698818"/>
                  <a:pt x="11569711" y="6697032"/>
                  <a:pt x="11571683" y="6695506"/>
                </a:cubicBezTo>
                <a:cubicBezTo>
                  <a:pt x="11573655" y="6693981"/>
                  <a:pt x="11576948" y="6693218"/>
                  <a:pt x="11581562" y="6693218"/>
                </a:cubicBezTo>
                <a:cubicBezTo>
                  <a:pt x="11585469" y="6693218"/>
                  <a:pt x="11588492" y="6694074"/>
                  <a:pt x="11590631" y="6695785"/>
                </a:cubicBezTo>
                <a:cubicBezTo>
                  <a:pt x="11592770" y="6697497"/>
                  <a:pt x="11594063" y="6699878"/>
                  <a:pt x="11594510" y="6702929"/>
                </a:cubicBezTo>
                <a:lnTo>
                  <a:pt x="11604333" y="6701590"/>
                </a:lnTo>
                <a:cubicBezTo>
                  <a:pt x="11603700" y="6697757"/>
                  <a:pt x="11602547" y="6694697"/>
                  <a:pt x="11600872" y="6692409"/>
                </a:cubicBezTo>
                <a:cubicBezTo>
                  <a:pt x="11599198" y="6690120"/>
                  <a:pt x="11596603" y="6688307"/>
                  <a:pt x="11593087" y="6686967"/>
                </a:cubicBezTo>
                <a:cubicBezTo>
                  <a:pt x="11589571" y="6685628"/>
                  <a:pt x="11585487" y="6684958"/>
                  <a:pt x="11580836" y="6684958"/>
                </a:cubicBezTo>
                <a:close/>
                <a:moveTo>
                  <a:pt x="11523407" y="6684958"/>
                </a:moveTo>
                <a:cubicBezTo>
                  <a:pt x="11519537" y="6684958"/>
                  <a:pt x="11516245" y="6685711"/>
                  <a:pt x="11513529" y="6687218"/>
                </a:cubicBezTo>
                <a:cubicBezTo>
                  <a:pt x="11510812" y="6688725"/>
                  <a:pt x="11508375" y="6690986"/>
                  <a:pt x="11506217" y="6693999"/>
                </a:cubicBezTo>
                <a:lnTo>
                  <a:pt x="11506217" y="6686297"/>
                </a:lnTo>
                <a:lnTo>
                  <a:pt x="11497064" y="6686297"/>
                </a:lnTo>
                <a:lnTo>
                  <a:pt x="11497064" y="6768283"/>
                </a:lnTo>
                <a:lnTo>
                  <a:pt x="11507110" y="6768283"/>
                </a:lnTo>
                <a:lnTo>
                  <a:pt x="11507110" y="6739429"/>
                </a:lnTo>
                <a:cubicBezTo>
                  <a:pt x="11508822" y="6741587"/>
                  <a:pt x="11511008" y="6743373"/>
                  <a:pt x="11513668" y="6744787"/>
                </a:cubicBezTo>
                <a:cubicBezTo>
                  <a:pt x="11516328" y="6746201"/>
                  <a:pt x="11519333" y="6746908"/>
                  <a:pt x="11522681" y="6746908"/>
                </a:cubicBezTo>
                <a:cubicBezTo>
                  <a:pt x="11527258" y="6746908"/>
                  <a:pt x="11531620" y="6745615"/>
                  <a:pt x="11535769" y="6743029"/>
                </a:cubicBezTo>
                <a:cubicBezTo>
                  <a:pt x="11539918" y="6740443"/>
                  <a:pt x="11543080" y="6736722"/>
                  <a:pt x="11545257" y="6731867"/>
                </a:cubicBezTo>
                <a:cubicBezTo>
                  <a:pt x="11547433" y="6727011"/>
                  <a:pt x="11548522" y="6721551"/>
                  <a:pt x="11548522" y="6715486"/>
                </a:cubicBezTo>
                <a:cubicBezTo>
                  <a:pt x="11548522" y="6709831"/>
                  <a:pt x="11547536" y="6704631"/>
                  <a:pt x="11545564" y="6699887"/>
                </a:cubicBezTo>
                <a:cubicBezTo>
                  <a:pt x="11543592" y="6695143"/>
                  <a:pt x="11540671" y="6691469"/>
                  <a:pt x="11536802" y="6688865"/>
                </a:cubicBezTo>
                <a:cubicBezTo>
                  <a:pt x="11532932" y="6686260"/>
                  <a:pt x="11528467" y="6684958"/>
                  <a:pt x="11523407" y="6684958"/>
                </a:cubicBezTo>
                <a:close/>
                <a:moveTo>
                  <a:pt x="11387081" y="6678447"/>
                </a:moveTo>
                <a:cubicBezTo>
                  <a:pt x="11382653" y="6678447"/>
                  <a:pt x="11378718" y="6679368"/>
                  <a:pt x="11375277" y="6681210"/>
                </a:cubicBezTo>
                <a:cubicBezTo>
                  <a:pt x="11371835" y="6683051"/>
                  <a:pt x="11369184" y="6685786"/>
                  <a:pt x="11367324" y="6689414"/>
                </a:cubicBezTo>
                <a:cubicBezTo>
                  <a:pt x="11365463" y="6693041"/>
                  <a:pt x="11364533" y="6697311"/>
                  <a:pt x="11364533" y="6702222"/>
                </a:cubicBezTo>
                <a:cubicBezTo>
                  <a:pt x="11364533" y="6709738"/>
                  <a:pt x="11366580" y="6715617"/>
                  <a:pt x="11370672" y="6719858"/>
                </a:cubicBezTo>
                <a:cubicBezTo>
                  <a:pt x="11374765" y="6724100"/>
                  <a:pt x="11380086" y="6726221"/>
                  <a:pt x="11386634" y="6726221"/>
                </a:cubicBezTo>
                <a:cubicBezTo>
                  <a:pt x="11391806" y="6726221"/>
                  <a:pt x="11396206" y="6724835"/>
                  <a:pt x="11399833" y="6722063"/>
                </a:cubicBezTo>
                <a:cubicBezTo>
                  <a:pt x="11403461" y="6719291"/>
                  <a:pt x="11405833" y="6715580"/>
                  <a:pt x="11406949" y="6710929"/>
                </a:cubicBezTo>
                <a:lnTo>
                  <a:pt x="11400085" y="6708920"/>
                </a:lnTo>
                <a:cubicBezTo>
                  <a:pt x="11399266" y="6712231"/>
                  <a:pt x="11397592" y="6714854"/>
                  <a:pt x="11395062" y="6716789"/>
                </a:cubicBezTo>
                <a:cubicBezTo>
                  <a:pt x="11392532" y="6718724"/>
                  <a:pt x="11389592" y="6719691"/>
                  <a:pt x="11386244" y="6719691"/>
                </a:cubicBezTo>
                <a:cubicBezTo>
                  <a:pt x="11382076" y="6719691"/>
                  <a:pt x="11378681" y="6718231"/>
                  <a:pt x="11376058" y="6715310"/>
                </a:cubicBezTo>
                <a:cubicBezTo>
                  <a:pt x="11373435" y="6712389"/>
                  <a:pt x="11372123" y="6708082"/>
                  <a:pt x="11372123" y="6702390"/>
                </a:cubicBezTo>
                <a:cubicBezTo>
                  <a:pt x="11372123" y="6696697"/>
                  <a:pt x="11373509" y="6692325"/>
                  <a:pt x="11376281" y="6689274"/>
                </a:cubicBezTo>
                <a:cubicBezTo>
                  <a:pt x="11379053" y="6686223"/>
                  <a:pt x="11382579" y="6684698"/>
                  <a:pt x="11386857" y="6684698"/>
                </a:cubicBezTo>
                <a:cubicBezTo>
                  <a:pt x="11389797" y="6684698"/>
                  <a:pt x="11392355" y="6685433"/>
                  <a:pt x="11394531" y="6686902"/>
                </a:cubicBezTo>
                <a:cubicBezTo>
                  <a:pt x="11396708" y="6688372"/>
                  <a:pt x="11398354" y="6690483"/>
                  <a:pt x="11399471" y="6693237"/>
                </a:cubicBezTo>
                <a:lnTo>
                  <a:pt x="11406112" y="6691618"/>
                </a:lnTo>
                <a:cubicBezTo>
                  <a:pt x="11404921" y="6687563"/>
                  <a:pt x="11402689" y="6684354"/>
                  <a:pt x="11399415" y="6681991"/>
                </a:cubicBezTo>
                <a:cubicBezTo>
                  <a:pt x="11396141" y="6679628"/>
                  <a:pt x="11392029" y="6678447"/>
                  <a:pt x="11387081" y="6678447"/>
                </a:cubicBezTo>
                <a:close/>
                <a:moveTo>
                  <a:pt x="11386578" y="6669331"/>
                </a:moveTo>
                <a:cubicBezTo>
                  <a:pt x="11392457" y="6669331"/>
                  <a:pt x="11398206" y="6670847"/>
                  <a:pt x="11403824" y="6673880"/>
                </a:cubicBezTo>
                <a:cubicBezTo>
                  <a:pt x="11409442" y="6676912"/>
                  <a:pt x="11413823" y="6681247"/>
                  <a:pt x="11416967" y="6686883"/>
                </a:cubicBezTo>
                <a:cubicBezTo>
                  <a:pt x="11420111" y="6692520"/>
                  <a:pt x="11421683" y="6698390"/>
                  <a:pt x="11421683" y="6704492"/>
                </a:cubicBezTo>
                <a:cubicBezTo>
                  <a:pt x="11421683" y="6710556"/>
                  <a:pt x="11420139" y="6716370"/>
                  <a:pt x="11417051" y="6721932"/>
                </a:cubicBezTo>
                <a:cubicBezTo>
                  <a:pt x="11413963" y="6727495"/>
                  <a:pt x="11409628" y="6731830"/>
                  <a:pt x="11404047" y="6734936"/>
                </a:cubicBezTo>
                <a:cubicBezTo>
                  <a:pt x="11398466" y="6738043"/>
                  <a:pt x="11392643" y="6739597"/>
                  <a:pt x="11386578" y="6739597"/>
                </a:cubicBezTo>
                <a:cubicBezTo>
                  <a:pt x="11380514" y="6739597"/>
                  <a:pt x="11374691" y="6738043"/>
                  <a:pt x="11369110" y="6734936"/>
                </a:cubicBezTo>
                <a:cubicBezTo>
                  <a:pt x="11363529" y="6731830"/>
                  <a:pt x="11359185" y="6727495"/>
                  <a:pt x="11356078" y="6721932"/>
                </a:cubicBezTo>
                <a:cubicBezTo>
                  <a:pt x="11352971" y="6716370"/>
                  <a:pt x="11351418" y="6710556"/>
                  <a:pt x="11351418" y="6704492"/>
                </a:cubicBezTo>
                <a:cubicBezTo>
                  <a:pt x="11351418" y="6698390"/>
                  <a:pt x="11352999" y="6692520"/>
                  <a:pt x="11356162" y="6686883"/>
                </a:cubicBezTo>
                <a:cubicBezTo>
                  <a:pt x="11359324" y="6681247"/>
                  <a:pt x="11363705" y="6676912"/>
                  <a:pt x="11369305" y="6673880"/>
                </a:cubicBezTo>
                <a:cubicBezTo>
                  <a:pt x="11374905" y="6670847"/>
                  <a:pt x="11380662" y="6669331"/>
                  <a:pt x="11386578" y="6669331"/>
                </a:cubicBezTo>
                <a:close/>
                <a:moveTo>
                  <a:pt x="11469234" y="6663750"/>
                </a:moveTo>
                <a:lnTo>
                  <a:pt x="11469234" y="6745568"/>
                </a:lnTo>
                <a:lnTo>
                  <a:pt x="11480061" y="6745568"/>
                </a:lnTo>
                <a:lnTo>
                  <a:pt x="11480061" y="6663750"/>
                </a:lnTo>
                <a:close/>
                <a:moveTo>
                  <a:pt x="11386578" y="6662355"/>
                </a:moveTo>
                <a:cubicBezTo>
                  <a:pt x="11379509" y="6662355"/>
                  <a:pt x="11372607" y="6664169"/>
                  <a:pt x="11365873" y="6667796"/>
                </a:cubicBezTo>
                <a:cubicBezTo>
                  <a:pt x="11359138" y="6671424"/>
                  <a:pt x="11353883" y="6676614"/>
                  <a:pt x="11350106" y="6683367"/>
                </a:cubicBezTo>
                <a:cubicBezTo>
                  <a:pt x="11346330" y="6690120"/>
                  <a:pt x="11344441" y="6697162"/>
                  <a:pt x="11344441" y="6704492"/>
                </a:cubicBezTo>
                <a:cubicBezTo>
                  <a:pt x="11344441" y="6711747"/>
                  <a:pt x="11346302" y="6718723"/>
                  <a:pt x="11350022" y="6725421"/>
                </a:cubicBezTo>
                <a:cubicBezTo>
                  <a:pt x="11353743" y="6732118"/>
                  <a:pt x="11358943" y="6737318"/>
                  <a:pt x="11365622" y="6741020"/>
                </a:cubicBezTo>
                <a:cubicBezTo>
                  <a:pt x="11372300" y="6744722"/>
                  <a:pt x="11379286" y="6746573"/>
                  <a:pt x="11386578" y="6746573"/>
                </a:cubicBezTo>
                <a:cubicBezTo>
                  <a:pt x="11393871" y="6746573"/>
                  <a:pt x="11400857" y="6744722"/>
                  <a:pt x="11407535" y="6741020"/>
                </a:cubicBezTo>
                <a:cubicBezTo>
                  <a:pt x="11414214" y="6737318"/>
                  <a:pt x="11419404" y="6732118"/>
                  <a:pt x="11423106" y="6725421"/>
                </a:cubicBezTo>
                <a:cubicBezTo>
                  <a:pt x="11426809" y="6718723"/>
                  <a:pt x="11428660" y="6711747"/>
                  <a:pt x="11428660" y="6704492"/>
                </a:cubicBezTo>
                <a:cubicBezTo>
                  <a:pt x="11428660" y="6697162"/>
                  <a:pt x="11426781" y="6690120"/>
                  <a:pt x="11423023" y="6683367"/>
                </a:cubicBezTo>
                <a:cubicBezTo>
                  <a:pt x="11419265" y="6676614"/>
                  <a:pt x="11414019" y="6671424"/>
                  <a:pt x="11407284" y="6667796"/>
                </a:cubicBezTo>
                <a:cubicBezTo>
                  <a:pt x="11400550" y="6664169"/>
                  <a:pt x="11393648" y="6662355"/>
                  <a:pt x="11386578" y="6662355"/>
                </a:cubicBezTo>
                <a:close/>
                <a:moveTo>
                  <a:pt x="818352" y="6201649"/>
                </a:moveTo>
                <a:lnTo>
                  <a:pt x="818352" y="6597649"/>
                </a:lnTo>
                <a:lnTo>
                  <a:pt x="824702" y="6597649"/>
                </a:lnTo>
                <a:lnTo>
                  <a:pt x="824702" y="6201649"/>
                </a:lnTo>
                <a:close/>
                <a:moveTo>
                  <a:pt x="11344275" y="6196639"/>
                </a:moveTo>
                <a:cubicBezTo>
                  <a:pt x="11344275" y="6196639"/>
                  <a:pt x="11344275" y="6196639"/>
                  <a:pt x="11344275" y="6534644"/>
                </a:cubicBezTo>
                <a:lnTo>
                  <a:pt x="11344275" y="6605968"/>
                </a:lnTo>
                <a:lnTo>
                  <a:pt x="11737507" y="6605968"/>
                </a:lnTo>
                <a:lnTo>
                  <a:pt x="11755855" y="6553660"/>
                </a:lnTo>
                <a:cubicBezTo>
                  <a:pt x="11794321" y="6430829"/>
                  <a:pt x="11797956" y="6316342"/>
                  <a:pt x="11780876" y="6196639"/>
                </a:cubicBezTo>
                <a:cubicBezTo>
                  <a:pt x="11780876" y="6196639"/>
                  <a:pt x="11780876" y="6196639"/>
                  <a:pt x="11344275" y="6196639"/>
                </a:cubicBezTo>
                <a:close/>
                <a:moveTo>
                  <a:pt x="0" y="0"/>
                </a:moveTo>
                <a:lnTo>
                  <a:pt x="12191999" y="0"/>
                </a:lnTo>
                <a:lnTo>
                  <a:pt x="12191999" y="6854824"/>
                </a:lnTo>
                <a:lnTo>
                  <a:pt x="0" y="6854824"/>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4" name="strSlideNumber">
            <a:extLst>
              <a:ext uri="{FF2B5EF4-FFF2-40B4-BE49-F238E27FC236}">
                <a16:creationId xmlns:a16="http://schemas.microsoft.com/office/drawing/2014/main" id="{FA4C842B-27DD-4F5E-87E3-6EBC0097FD43}"/>
              </a:ext>
            </a:extLst>
          </p:cNvPr>
          <p:cNvSpPr>
            <a:spLocks noGrp="1"/>
          </p:cNvSpPr>
          <p:nvPr>
            <p:ph type="sldNum" sz="quarter" idx="14"/>
          </p:nvPr>
        </p:nvSpPr>
        <p:spPr>
          <a:xfrm>
            <a:off x="407988" y="6200775"/>
            <a:ext cx="413538" cy="396875"/>
          </a:xfrm>
        </p:spPr>
        <p:txBody>
          <a:bodyPr/>
          <a:lstStyle>
            <a:lvl1pPr>
              <a:defRPr>
                <a:solidFill>
                  <a:schemeClr val="bg1"/>
                </a:solidFill>
              </a:defRPr>
            </a:lvl1pPr>
          </a:lstStyle>
          <a:p>
            <a:fld id="{D61AABEC-672F-4B68-B914-690DA978312C}" type="slidenum">
              <a:rPr lang="en-US" noProof="0" smtClean="0"/>
              <a:pPr/>
              <a:t>‹#›</a:t>
            </a:fld>
            <a:r>
              <a:rPr lang="en-US" noProof="0" dirty="0"/>
              <a:t> </a:t>
            </a:r>
          </a:p>
        </p:txBody>
      </p:sp>
      <p:cxnSp>
        <p:nvCxnSpPr>
          <p:cNvPr id="16" name="SlideNumberLine">
            <a:extLst>
              <a:ext uri="{FF2B5EF4-FFF2-40B4-BE49-F238E27FC236}">
                <a16:creationId xmlns:a16="http://schemas.microsoft.com/office/drawing/2014/main" id="{6AA612DE-4EA7-42A2-B8BA-634FFB30C3C7}"/>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Line cutout">
            <a:extLst>
              <a:ext uri="{FF2B5EF4-FFF2-40B4-BE49-F238E27FC236}">
                <a16:creationId xmlns:a16="http://schemas.microsoft.com/office/drawing/2014/main" id="{08308E15-7231-4058-A330-6E17FED2D367}"/>
              </a:ext>
            </a:extLst>
          </p:cNvPr>
          <p:cNvSpPr/>
          <p:nvPr userDrawn="1"/>
        </p:nvSpPr>
        <p:spPr>
          <a:xfrm>
            <a:off x="818354" y="6201650"/>
            <a:ext cx="6350" cy="3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nvGrpSpPr>
          <p:cNvPr id="44" name="(c) Ipsos cutout" hidden="1">
            <a:extLst>
              <a:ext uri="{FF2B5EF4-FFF2-40B4-BE49-F238E27FC236}">
                <a16:creationId xmlns:a16="http://schemas.microsoft.com/office/drawing/2014/main" id="{0E42189F-7BBA-4D6E-BA81-CEE0BF050273}"/>
              </a:ext>
            </a:extLst>
          </p:cNvPr>
          <p:cNvGrpSpPr/>
          <p:nvPr userDrawn="1"/>
        </p:nvGrpSpPr>
        <p:grpSpPr>
          <a:xfrm>
            <a:off x="11344442" y="6662356"/>
            <a:ext cx="385950" cy="105928"/>
            <a:chOff x="11344442" y="6662356"/>
            <a:chExt cx="385950" cy="105928"/>
          </a:xfrm>
        </p:grpSpPr>
        <p:sp>
          <p:nvSpPr>
            <p:cNvPr id="45" name="Freeform: Shape 44">
              <a:extLst>
                <a:ext uri="{FF2B5EF4-FFF2-40B4-BE49-F238E27FC236}">
                  <a16:creationId xmlns:a16="http://schemas.microsoft.com/office/drawing/2014/main" id="{FD843A2F-F2BC-4D5B-A0E3-ACBDFDC0016F}"/>
                </a:ext>
              </a:extLst>
            </p:cNvPr>
            <p:cNvSpPr/>
            <p:nvPr userDrawn="1"/>
          </p:nvSpPr>
          <p:spPr>
            <a:xfrm>
              <a:off x="11344442" y="6662356"/>
              <a:ext cx="84219" cy="84218"/>
            </a:xfrm>
            <a:custGeom>
              <a:avLst/>
              <a:gdLst/>
              <a:ahLst/>
              <a:cxnLst/>
              <a:rect l="l" t="t" r="r" b="b"/>
              <a:pathLst>
                <a:path w="84219" h="84218">
                  <a:moveTo>
                    <a:pt x="42137" y="0"/>
                  </a:moveTo>
                  <a:cubicBezTo>
                    <a:pt x="49207" y="0"/>
                    <a:pt x="56109" y="1814"/>
                    <a:pt x="62843" y="5441"/>
                  </a:cubicBezTo>
                  <a:cubicBezTo>
                    <a:pt x="69578" y="9069"/>
                    <a:pt x="74824" y="14259"/>
                    <a:pt x="78582" y="21012"/>
                  </a:cubicBezTo>
                  <a:cubicBezTo>
                    <a:pt x="82340" y="27765"/>
                    <a:pt x="84219" y="34807"/>
                    <a:pt x="84219" y="42137"/>
                  </a:cubicBezTo>
                  <a:cubicBezTo>
                    <a:pt x="84219" y="49392"/>
                    <a:pt x="82368" y="56368"/>
                    <a:pt x="78665" y="63066"/>
                  </a:cubicBezTo>
                  <a:cubicBezTo>
                    <a:pt x="74963" y="69763"/>
                    <a:pt x="69773" y="74963"/>
                    <a:pt x="63094" y="78665"/>
                  </a:cubicBezTo>
                  <a:cubicBezTo>
                    <a:pt x="56416" y="82367"/>
                    <a:pt x="49430" y="84218"/>
                    <a:pt x="42137" y="84218"/>
                  </a:cubicBezTo>
                  <a:cubicBezTo>
                    <a:pt x="34845" y="84218"/>
                    <a:pt x="27859" y="82367"/>
                    <a:pt x="21181" y="78665"/>
                  </a:cubicBezTo>
                  <a:cubicBezTo>
                    <a:pt x="14502" y="74963"/>
                    <a:pt x="9302" y="69763"/>
                    <a:pt x="5581" y="63066"/>
                  </a:cubicBezTo>
                  <a:cubicBezTo>
                    <a:pt x="1861" y="56368"/>
                    <a:pt x="0" y="49392"/>
                    <a:pt x="0" y="42137"/>
                  </a:cubicBezTo>
                  <a:cubicBezTo>
                    <a:pt x="0" y="34807"/>
                    <a:pt x="1889" y="27765"/>
                    <a:pt x="5665" y="21012"/>
                  </a:cubicBezTo>
                  <a:cubicBezTo>
                    <a:pt x="9442" y="14259"/>
                    <a:pt x="14697" y="9069"/>
                    <a:pt x="21432" y="5441"/>
                  </a:cubicBezTo>
                  <a:cubicBezTo>
                    <a:pt x="28166" y="1814"/>
                    <a:pt x="35068" y="0"/>
                    <a:pt x="42137" y="0"/>
                  </a:cubicBezTo>
                  <a:close/>
                  <a:moveTo>
                    <a:pt x="42137" y="6976"/>
                  </a:moveTo>
                  <a:cubicBezTo>
                    <a:pt x="36221" y="6976"/>
                    <a:pt x="30464" y="8492"/>
                    <a:pt x="24864" y="11525"/>
                  </a:cubicBezTo>
                  <a:cubicBezTo>
                    <a:pt x="19264" y="14557"/>
                    <a:pt x="14883" y="18892"/>
                    <a:pt x="11721" y="24528"/>
                  </a:cubicBezTo>
                  <a:cubicBezTo>
                    <a:pt x="8558" y="30165"/>
                    <a:pt x="6977" y="36035"/>
                    <a:pt x="6977" y="42137"/>
                  </a:cubicBezTo>
                  <a:cubicBezTo>
                    <a:pt x="6977" y="48201"/>
                    <a:pt x="8530" y="54015"/>
                    <a:pt x="11637" y="59577"/>
                  </a:cubicBezTo>
                  <a:cubicBezTo>
                    <a:pt x="14744" y="65140"/>
                    <a:pt x="19088" y="69475"/>
                    <a:pt x="24669" y="72581"/>
                  </a:cubicBezTo>
                  <a:cubicBezTo>
                    <a:pt x="30250" y="75688"/>
                    <a:pt x="36073" y="77242"/>
                    <a:pt x="42137" y="77242"/>
                  </a:cubicBezTo>
                  <a:cubicBezTo>
                    <a:pt x="48202" y="77242"/>
                    <a:pt x="54025" y="75688"/>
                    <a:pt x="59606" y="72581"/>
                  </a:cubicBezTo>
                  <a:cubicBezTo>
                    <a:pt x="65187" y="69475"/>
                    <a:pt x="69522" y="65140"/>
                    <a:pt x="72610" y="59577"/>
                  </a:cubicBezTo>
                  <a:cubicBezTo>
                    <a:pt x="75698" y="54015"/>
                    <a:pt x="77242" y="48201"/>
                    <a:pt x="77242" y="42137"/>
                  </a:cubicBezTo>
                  <a:cubicBezTo>
                    <a:pt x="77242" y="36035"/>
                    <a:pt x="75670" y="30165"/>
                    <a:pt x="72526" y="24528"/>
                  </a:cubicBezTo>
                  <a:cubicBezTo>
                    <a:pt x="69382" y="18892"/>
                    <a:pt x="65001" y="14557"/>
                    <a:pt x="59383" y="11525"/>
                  </a:cubicBezTo>
                  <a:cubicBezTo>
                    <a:pt x="53765" y="8492"/>
                    <a:pt x="48016" y="6976"/>
                    <a:pt x="42137" y="697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Freeform: Shape 45">
              <a:extLst>
                <a:ext uri="{FF2B5EF4-FFF2-40B4-BE49-F238E27FC236}">
                  <a16:creationId xmlns:a16="http://schemas.microsoft.com/office/drawing/2014/main" id="{E67FD06E-22DF-4522-8A29-F144FF6904A9}"/>
                </a:ext>
              </a:extLst>
            </p:cNvPr>
            <p:cNvSpPr/>
            <p:nvPr userDrawn="1"/>
          </p:nvSpPr>
          <p:spPr>
            <a:xfrm>
              <a:off x="11469235" y="6663751"/>
              <a:ext cx="10827" cy="81818"/>
            </a:xfrm>
            <a:custGeom>
              <a:avLst/>
              <a:gdLst/>
              <a:ahLst/>
              <a:cxnLst/>
              <a:rect l="l" t="t" r="r" b="b"/>
              <a:pathLst>
                <a:path w="10827" h="81818">
                  <a:moveTo>
                    <a:pt x="0" y="0"/>
                  </a:moveTo>
                  <a:lnTo>
                    <a:pt x="10827" y="0"/>
                  </a:lnTo>
                  <a:lnTo>
                    <a:pt x="10827" y="81818"/>
                  </a:lnTo>
                  <a:lnTo>
                    <a:pt x="0" y="81818"/>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7" name="Freeform: Shape 46">
              <a:extLst>
                <a:ext uri="{FF2B5EF4-FFF2-40B4-BE49-F238E27FC236}">
                  <a16:creationId xmlns:a16="http://schemas.microsoft.com/office/drawing/2014/main" id="{A5467A32-28C1-437D-B6BB-5BEC023E5EBB}"/>
                </a:ext>
              </a:extLst>
            </p:cNvPr>
            <p:cNvSpPr/>
            <p:nvPr userDrawn="1"/>
          </p:nvSpPr>
          <p:spPr>
            <a:xfrm>
              <a:off x="11364534" y="6678448"/>
              <a:ext cx="42416" cy="47774"/>
            </a:xfrm>
            <a:custGeom>
              <a:avLst/>
              <a:gdLst/>
              <a:ahLst/>
              <a:cxnLst/>
              <a:rect l="l" t="t" r="r" b="b"/>
              <a:pathLst>
                <a:path w="42416" h="47774">
                  <a:moveTo>
                    <a:pt x="22548" y="0"/>
                  </a:moveTo>
                  <a:cubicBezTo>
                    <a:pt x="27496" y="0"/>
                    <a:pt x="31608" y="1181"/>
                    <a:pt x="34882" y="3544"/>
                  </a:cubicBezTo>
                  <a:cubicBezTo>
                    <a:pt x="38156" y="5907"/>
                    <a:pt x="40388" y="9116"/>
                    <a:pt x="41579" y="13171"/>
                  </a:cubicBezTo>
                  <a:lnTo>
                    <a:pt x="34938" y="14790"/>
                  </a:lnTo>
                  <a:cubicBezTo>
                    <a:pt x="33821" y="12036"/>
                    <a:pt x="32175" y="9925"/>
                    <a:pt x="29998" y="8455"/>
                  </a:cubicBezTo>
                  <a:cubicBezTo>
                    <a:pt x="27822" y="6986"/>
                    <a:pt x="25264" y="6251"/>
                    <a:pt x="22324" y="6251"/>
                  </a:cubicBezTo>
                  <a:cubicBezTo>
                    <a:pt x="18046" y="6251"/>
                    <a:pt x="14520" y="7776"/>
                    <a:pt x="11748" y="10827"/>
                  </a:cubicBezTo>
                  <a:cubicBezTo>
                    <a:pt x="8976" y="13878"/>
                    <a:pt x="7590" y="18250"/>
                    <a:pt x="7590" y="23943"/>
                  </a:cubicBezTo>
                  <a:cubicBezTo>
                    <a:pt x="7590" y="29635"/>
                    <a:pt x="8902" y="33942"/>
                    <a:pt x="11525" y="36863"/>
                  </a:cubicBezTo>
                  <a:cubicBezTo>
                    <a:pt x="14148" y="39784"/>
                    <a:pt x="17543" y="41244"/>
                    <a:pt x="21711" y="41244"/>
                  </a:cubicBezTo>
                  <a:cubicBezTo>
                    <a:pt x="25059" y="41244"/>
                    <a:pt x="27999" y="40277"/>
                    <a:pt x="30529" y="38342"/>
                  </a:cubicBezTo>
                  <a:cubicBezTo>
                    <a:pt x="33059" y="36407"/>
                    <a:pt x="34733" y="33784"/>
                    <a:pt x="35552" y="30473"/>
                  </a:cubicBezTo>
                  <a:lnTo>
                    <a:pt x="42416" y="32482"/>
                  </a:lnTo>
                  <a:cubicBezTo>
                    <a:pt x="41300" y="37133"/>
                    <a:pt x="38928" y="40844"/>
                    <a:pt x="35300" y="43616"/>
                  </a:cubicBezTo>
                  <a:cubicBezTo>
                    <a:pt x="31673" y="46388"/>
                    <a:pt x="27273" y="47774"/>
                    <a:pt x="22101" y="47774"/>
                  </a:cubicBezTo>
                  <a:cubicBezTo>
                    <a:pt x="15553" y="47774"/>
                    <a:pt x="10232" y="45653"/>
                    <a:pt x="6139" y="41411"/>
                  </a:cubicBezTo>
                  <a:cubicBezTo>
                    <a:pt x="2047" y="37170"/>
                    <a:pt x="0" y="31291"/>
                    <a:pt x="0" y="23775"/>
                  </a:cubicBezTo>
                  <a:cubicBezTo>
                    <a:pt x="0" y="18864"/>
                    <a:pt x="930" y="14594"/>
                    <a:pt x="2791" y="10967"/>
                  </a:cubicBezTo>
                  <a:cubicBezTo>
                    <a:pt x="4651" y="7339"/>
                    <a:pt x="7302" y="4604"/>
                    <a:pt x="10744" y="2763"/>
                  </a:cubicBezTo>
                  <a:cubicBezTo>
                    <a:pt x="14185" y="921"/>
                    <a:pt x="18120" y="0"/>
                    <a:pt x="22548"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8" name="Freeform: Shape 47">
              <a:extLst>
                <a:ext uri="{FF2B5EF4-FFF2-40B4-BE49-F238E27FC236}">
                  <a16:creationId xmlns:a16="http://schemas.microsoft.com/office/drawing/2014/main" id="{36B0E33D-E4BE-47AA-AF1E-B18A001F15F5}"/>
                </a:ext>
              </a:extLst>
            </p:cNvPr>
            <p:cNvSpPr/>
            <p:nvPr userDrawn="1"/>
          </p:nvSpPr>
          <p:spPr>
            <a:xfrm>
              <a:off x="11497065" y="6684959"/>
              <a:ext cx="51458" cy="83325"/>
            </a:xfrm>
            <a:custGeom>
              <a:avLst/>
              <a:gdLst/>
              <a:ahLst/>
              <a:cxnLst/>
              <a:rect l="l" t="t" r="r" b="b"/>
              <a:pathLst>
                <a:path w="51458" h="83325">
                  <a:moveTo>
                    <a:pt x="26343" y="0"/>
                  </a:moveTo>
                  <a:cubicBezTo>
                    <a:pt x="31403" y="0"/>
                    <a:pt x="35868" y="1302"/>
                    <a:pt x="39738" y="3907"/>
                  </a:cubicBezTo>
                  <a:cubicBezTo>
                    <a:pt x="43607" y="6511"/>
                    <a:pt x="46528" y="10185"/>
                    <a:pt x="48500" y="14929"/>
                  </a:cubicBezTo>
                  <a:cubicBezTo>
                    <a:pt x="50472" y="19673"/>
                    <a:pt x="51458" y="24873"/>
                    <a:pt x="51458" y="30528"/>
                  </a:cubicBezTo>
                  <a:cubicBezTo>
                    <a:pt x="51458" y="36593"/>
                    <a:pt x="50369" y="42053"/>
                    <a:pt x="48193" y="46909"/>
                  </a:cubicBezTo>
                  <a:cubicBezTo>
                    <a:pt x="46016" y="51764"/>
                    <a:pt x="42854" y="55485"/>
                    <a:pt x="38705" y="58071"/>
                  </a:cubicBezTo>
                  <a:cubicBezTo>
                    <a:pt x="34556" y="60657"/>
                    <a:pt x="30194" y="61950"/>
                    <a:pt x="25617" y="61950"/>
                  </a:cubicBezTo>
                  <a:cubicBezTo>
                    <a:pt x="22269" y="61950"/>
                    <a:pt x="19264" y="61243"/>
                    <a:pt x="16604" y="59829"/>
                  </a:cubicBezTo>
                  <a:cubicBezTo>
                    <a:pt x="13944" y="58415"/>
                    <a:pt x="11758" y="56629"/>
                    <a:pt x="10046" y="54471"/>
                  </a:cubicBezTo>
                  <a:lnTo>
                    <a:pt x="10046" y="83325"/>
                  </a:lnTo>
                  <a:lnTo>
                    <a:pt x="0" y="83325"/>
                  </a:lnTo>
                  <a:lnTo>
                    <a:pt x="0" y="1339"/>
                  </a:lnTo>
                  <a:lnTo>
                    <a:pt x="9153" y="1339"/>
                  </a:lnTo>
                  <a:lnTo>
                    <a:pt x="9153" y="9041"/>
                  </a:lnTo>
                  <a:cubicBezTo>
                    <a:pt x="11311" y="6028"/>
                    <a:pt x="13748" y="3767"/>
                    <a:pt x="16465" y="2260"/>
                  </a:cubicBezTo>
                  <a:cubicBezTo>
                    <a:pt x="19181" y="753"/>
                    <a:pt x="22473" y="0"/>
                    <a:pt x="26343" y="0"/>
                  </a:cubicBezTo>
                  <a:close/>
                  <a:moveTo>
                    <a:pt x="25394" y="7869"/>
                  </a:moveTo>
                  <a:cubicBezTo>
                    <a:pt x="21115" y="7869"/>
                    <a:pt x="17330" y="9869"/>
                    <a:pt x="14037" y="13869"/>
                  </a:cubicBezTo>
                  <a:cubicBezTo>
                    <a:pt x="10744" y="17869"/>
                    <a:pt x="9098" y="23682"/>
                    <a:pt x="9098" y="31310"/>
                  </a:cubicBezTo>
                  <a:cubicBezTo>
                    <a:pt x="9098" y="38937"/>
                    <a:pt x="10642" y="44574"/>
                    <a:pt x="13730" y="48220"/>
                  </a:cubicBezTo>
                  <a:cubicBezTo>
                    <a:pt x="16818" y="51867"/>
                    <a:pt x="20557" y="53690"/>
                    <a:pt x="24948" y="53690"/>
                  </a:cubicBezTo>
                  <a:cubicBezTo>
                    <a:pt x="29413" y="53690"/>
                    <a:pt x="33236" y="51801"/>
                    <a:pt x="36417" y="48025"/>
                  </a:cubicBezTo>
                  <a:cubicBezTo>
                    <a:pt x="39598" y="44248"/>
                    <a:pt x="41189" y="38398"/>
                    <a:pt x="41189" y="30473"/>
                  </a:cubicBezTo>
                  <a:cubicBezTo>
                    <a:pt x="41189" y="22920"/>
                    <a:pt x="39635" y="17264"/>
                    <a:pt x="36528" y="13506"/>
                  </a:cubicBezTo>
                  <a:cubicBezTo>
                    <a:pt x="33422" y="9748"/>
                    <a:pt x="29710" y="7869"/>
                    <a:pt x="25394" y="7869"/>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9" name="Freeform: Shape 48">
              <a:extLst>
                <a:ext uri="{FF2B5EF4-FFF2-40B4-BE49-F238E27FC236}">
                  <a16:creationId xmlns:a16="http://schemas.microsoft.com/office/drawing/2014/main" id="{73EB7E36-506C-4D0A-94E7-59405FE2BB09}"/>
                </a:ext>
              </a:extLst>
            </p:cNvPr>
            <p:cNvSpPr/>
            <p:nvPr userDrawn="1"/>
          </p:nvSpPr>
          <p:spPr>
            <a:xfrm>
              <a:off x="11557341"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0" name="Freeform: Shape 49">
              <a:extLst>
                <a:ext uri="{FF2B5EF4-FFF2-40B4-BE49-F238E27FC236}">
                  <a16:creationId xmlns:a16="http://schemas.microsoft.com/office/drawing/2014/main" id="{F614AAA0-7179-4F00-B7D6-9FA582B3E437}"/>
                </a:ext>
              </a:extLst>
            </p:cNvPr>
            <p:cNvSpPr/>
            <p:nvPr userDrawn="1"/>
          </p:nvSpPr>
          <p:spPr>
            <a:xfrm>
              <a:off x="11614771" y="6684959"/>
              <a:ext cx="55532" cy="61950"/>
            </a:xfrm>
            <a:custGeom>
              <a:avLst/>
              <a:gdLst/>
              <a:ahLst/>
              <a:cxnLst/>
              <a:rect l="l" t="t" r="r" b="b"/>
              <a:pathLst>
                <a:path w="55532" h="61950">
                  <a:moveTo>
                    <a:pt x="27794" y="0"/>
                  </a:moveTo>
                  <a:cubicBezTo>
                    <a:pt x="35942" y="0"/>
                    <a:pt x="42602" y="2670"/>
                    <a:pt x="47774" y="8009"/>
                  </a:cubicBezTo>
                  <a:cubicBezTo>
                    <a:pt x="52946" y="13348"/>
                    <a:pt x="55532" y="20724"/>
                    <a:pt x="55532" y="30138"/>
                  </a:cubicBezTo>
                  <a:cubicBezTo>
                    <a:pt x="55532" y="37765"/>
                    <a:pt x="54387" y="43765"/>
                    <a:pt x="52099" y="48137"/>
                  </a:cubicBezTo>
                  <a:cubicBezTo>
                    <a:pt x="49811" y="52508"/>
                    <a:pt x="46481" y="55904"/>
                    <a:pt x="42109" y="58322"/>
                  </a:cubicBezTo>
                  <a:cubicBezTo>
                    <a:pt x="37737" y="60740"/>
                    <a:pt x="32966" y="61950"/>
                    <a:pt x="27794" y="61950"/>
                  </a:cubicBezTo>
                  <a:cubicBezTo>
                    <a:pt x="19497" y="61950"/>
                    <a:pt x="12790" y="59289"/>
                    <a:pt x="7674" y="53969"/>
                  </a:cubicBezTo>
                  <a:cubicBezTo>
                    <a:pt x="2558" y="48648"/>
                    <a:pt x="0" y="40984"/>
                    <a:pt x="0" y="30975"/>
                  </a:cubicBezTo>
                  <a:cubicBezTo>
                    <a:pt x="0" y="19999"/>
                    <a:pt x="3051" y="11869"/>
                    <a:pt x="9153" y="6586"/>
                  </a:cubicBezTo>
                  <a:cubicBezTo>
                    <a:pt x="14250" y="2195"/>
                    <a:pt x="20464" y="0"/>
                    <a:pt x="27794" y="0"/>
                  </a:cubicBezTo>
                  <a:close/>
                  <a:moveTo>
                    <a:pt x="27794" y="8316"/>
                  </a:moveTo>
                  <a:cubicBezTo>
                    <a:pt x="22771" y="8316"/>
                    <a:pt x="18604" y="10195"/>
                    <a:pt x="15292" y="13953"/>
                  </a:cubicBezTo>
                  <a:cubicBezTo>
                    <a:pt x="11981" y="17711"/>
                    <a:pt x="10325" y="23385"/>
                    <a:pt x="10325" y="30975"/>
                  </a:cubicBezTo>
                  <a:cubicBezTo>
                    <a:pt x="10325" y="38565"/>
                    <a:pt x="11981" y="44248"/>
                    <a:pt x="15292" y="48025"/>
                  </a:cubicBezTo>
                  <a:cubicBezTo>
                    <a:pt x="18604" y="51801"/>
                    <a:pt x="22771" y="53690"/>
                    <a:pt x="27794" y="53690"/>
                  </a:cubicBezTo>
                  <a:cubicBezTo>
                    <a:pt x="32779" y="53690"/>
                    <a:pt x="36928" y="51792"/>
                    <a:pt x="40240" y="47997"/>
                  </a:cubicBezTo>
                  <a:cubicBezTo>
                    <a:pt x="43551" y="44202"/>
                    <a:pt x="45207" y="38416"/>
                    <a:pt x="45207" y="30640"/>
                  </a:cubicBezTo>
                  <a:cubicBezTo>
                    <a:pt x="45207" y="23310"/>
                    <a:pt x="43542" y="17757"/>
                    <a:pt x="40212" y="13981"/>
                  </a:cubicBezTo>
                  <a:cubicBezTo>
                    <a:pt x="36882" y="10204"/>
                    <a:pt x="32742" y="8316"/>
                    <a:pt x="27794" y="831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1" name="Freeform: Shape 50">
              <a:extLst>
                <a:ext uri="{FF2B5EF4-FFF2-40B4-BE49-F238E27FC236}">
                  <a16:creationId xmlns:a16="http://schemas.microsoft.com/office/drawing/2014/main" id="{BBF84D52-5F14-4C29-9119-B378FB71813D}"/>
                </a:ext>
              </a:extLst>
            </p:cNvPr>
            <p:cNvSpPr/>
            <p:nvPr userDrawn="1"/>
          </p:nvSpPr>
          <p:spPr>
            <a:xfrm>
              <a:off x="11681167"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3" name="Logo shape cutout" hidden="1">
            <a:extLst>
              <a:ext uri="{FF2B5EF4-FFF2-40B4-BE49-F238E27FC236}">
                <a16:creationId xmlns:a16="http://schemas.microsoft.com/office/drawing/2014/main" id="{07B5C8FF-30B3-4ED3-865D-0966557F2896}"/>
              </a:ext>
            </a:extLst>
          </p:cNvPr>
          <p:cNvSpPr>
            <a:spLocks/>
          </p:cNvSpPr>
          <p:nvPr userDrawn="1"/>
        </p:nvSpPr>
        <p:spPr bwMode="auto">
          <a:xfrm>
            <a:off x="11344276" y="6196640"/>
            <a:ext cx="446338" cy="409329"/>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13" name="(c)Ipsos">
            <a:extLst>
              <a:ext uri="{FF2B5EF4-FFF2-40B4-BE49-F238E27FC236}">
                <a16:creationId xmlns:a16="http://schemas.microsoft.com/office/drawing/2014/main" id="{03AB80D6-18F7-4D93-942E-F3F63CB8C8C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20" name="IpsosLogo">
            <a:extLst>
              <a:ext uri="{FF2B5EF4-FFF2-40B4-BE49-F238E27FC236}">
                <a16:creationId xmlns:a16="http://schemas.microsoft.com/office/drawing/2014/main" id="{BDDC34AF-9BFB-4CFB-8025-0331A178D8E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91885657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Visual &amp; Diagonal Stripes">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328FE8A-97AF-4BD0-A672-A699E68D4B9B}"/>
              </a:ext>
            </a:extLst>
          </p:cNvPr>
          <p:cNvSpPr>
            <a:spLocks noGrp="1"/>
          </p:cNvSpPr>
          <p:nvPr>
            <p:ph type="pic" sz="quarter" idx="15"/>
          </p:nvPr>
        </p:nvSpPr>
        <p:spPr>
          <a:xfrm>
            <a:off x="2" y="1"/>
            <a:ext cx="12191999" cy="6858000"/>
          </a:xfrm>
          <a:custGeom>
            <a:avLst/>
            <a:gdLst>
              <a:gd name="connsiteX0" fmla="*/ 11642564 w 12191999"/>
              <a:gd name="connsiteY0" fmla="*/ 6696375 h 6858000"/>
              <a:gd name="connsiteX1" fmla="*/ 11654982 w 12191999"/>
              <a:gd name="connsiteY1" fmla="*/ 6702043 h 6858000"/>
              <a:gd name="connsiteX2" fmla="*/ 11659977 w 12191999"/>
              <a:gd name="connsiteY2" fmla="*/ 6718710 h 6858000"/>
              <a:gd name="connsiteX3" fmla="*/ 11655010 w 12191999"/>
              <a:gd name="connsiteY3" fmla="*/ 6736075 h 6858000"/>
              <a:gd name="connsiteX4" fmla="*/ 11642564 w 12191999"/>
              <a:gd name="connsiteY4" fmla="*/ 6741770 h 6858000"/>
              <a:gd name="connsiteX5" fmla="*/ 11630062 w 12191999"/>
              <a:gd name="connsiteY5" fmla="*/ 6736103 h 6858000"/>
              <a:gd name="connsiteX6" fmla="*/ 11625095 w 12191999"/>
              <a:gd name="connsiteY6" fmla="*/ 6719045 h 6858000"/>
              <a:gd name="connsiteX7" fmla="*/ 11630062 w 12191999"/>
              <a:gd name="connsiteY7" fmla="*/ 6702015 h 6858000"/>
              <a:gd name="connsiteX8" fmla="*/ 11642564 w 12191999"/>
              <a:gd name="connsiteY8" fmla="*/ 6696375 h 6858000"/>
              <a:gd name="connsiteX9" fmla="*/ 11522458 w 12191999"/>
              <a:gd name="connsiteY9" fmla="*/ 6695928 h 6858000"/>
              <a:gd name="connsiteX10" fmla="*/ 11533592 w 12191999"/>
              <a:gd name="connsiteY10" fmla="*/ 6701568 h 6858000"/>
              <a:gd name="connsiteX11" fmla="*/ 11538253 w 12191999"/>
              <a:gd name="connsiteY11" fmla="*/ 6718543 h 6858000"/>
              <a:gd name="connsiteX12" fmla="*/ 11533481 w 12191999"/>
              <a:gd name="connsiteY12" fmla="*/ 6736103 h 6858000"/>
              <a:gd name="connsiteX13" fmla="*/ 11522012 w 12191999"/>
              <a:gd name="connsiteY13" fmla="*/ 6741770 h 6858000"/>
              <a:gd name="connsiteX14" fmla="*/ 11510794 w 12191999"/>
              <a:gd name="connsiteY14" fmla="*/ 6736298 h 6858000"/>
              <a:gd name="connsiteX15" fmla="*/ 11506162 w 12191999"/>
              <a:gd name="connsiteY15" fmla="*/ 6719380 h 6858000"/>
              <a:gd name="connsiteX16" fmla="*/ 11511101 w 12191999"/>
              <a:gd name="connsiteY16" fmla="*/ 6701931 h 6858000"/>
              <a:gd name="connsiteX17" fmla="*/ 11522458 w 12191999"/>
              <a:gd name="connsiteY17" fmla="*/ 6695928 h 6858000"/>
              <a:gd name="connsiteX18" fmla="*/ 11704662 w 12191999"/>
              <a:gd name="connsiteY18" fmla="*/ 6688056 h 6858000"/>
              <a:gd name="connsiteX19" fmla="*/ 11695984 w 12191999"/>
              <a:gd name="connsiteY19" fmla="*/ 6689256 h 6858000"/>
              <a:gd name="connsiteX20" fmla="*/ 11689593 w 12191999"/>
              <a:gd name="connsiteY20" fmla="*/ 6692187 h 6858000"/>
              <a:gd name="connsiteX21" fmla="*/ 11684654 w 12191999"/>
              <a:gd name="connsiteY21" fmla="*/ 6697799 h 6858000"/>
              <a:gd name="connsiteX22" fmla="*/ 11682840 w 12191999"/>
              <a:gd name="connsiteY22" fmla="*/ 6705141 h 6858000"/>
              <a:gd name="connsiteX23" fmla="*/ 11685045 w 12191999"/>
              <a:gd name="connsiteY23" fmla="*/ 6713098 h 6858000"/>
              <a:gd name="connsiteX24" fmla="*/ 11691519 w 12191999"/>
              <a:gd name="connsiteY24" fmla="*/ 6718738 h 6858000"/>
              <a:gd name="connsiteX25" fmla="*/ 11706839 w 12191999"/>
              <a:gd name="connsiteY25" fmla="*/ 6723568 h 6858000"/>
              <a:gd name="connsiteX26" fmla="*/ 11717108 w 12191999"/>
              <a:gd name="connsiteY26" fmla="*/ 6726974 h 6858000"/>
              <a:gd name="connsiteX27" fmla="*/ 11720066 w 12191999"/>
              <a:gd name="connsiteY27" fmla="*/ 6732334 h 6858000"/>
              <a:gd name="connsiteX28" fmla="*/ 11716717 w 12191999"/>
              <a:gd name="connsiteY28" fmla="*/ 6738950 h 6858000"/>
              <a:gd name="connsiteX29" fmla="*/ 11706448 w 12191999"/>
              <a:gd name="connsiteY29" fmla="*/ 6741770 h 6858000"/>
              <a:gd name="connsiteX30" fmla="*/ 11695761 w 12191999"/>
              <a:gd name="connsiteY30" fmla="*/ 6738588 h 6858000"/>
              <a:gd name="connsiteX31" fmla="*/ 11691100 w 12191999"/>
              <a:gd name="connsiteY31" fmla="*/ 6729431 h 6858000"/>
              <a:gd name="connsiteX32" fmla="*/ 11681166 w 12191999"/>
              <a:gd name="connsiteY32" fmla="*/ 6730993 h 6858000"/>
              <a:gd name="connsiteX33" fmla="*/ 11688896 w 12191999"/>
              <a:gd name="connsiteY33" fmla="*/ 6745232 h 6858000"/>
              <a:gd name="connsiteX34" fmla="*/ 11706504 w 12191999"/>
              <a:gd name="connsiteY34" fmla="*/ 6750034 h 6858000"/>
              <a:gd name="connsiteX35" fmla="*/ 11719006 w 12191999"/>
              <a:gd name="connsiteY35" fmla="*/ 6747605 h 6858000"/>
              <a:gd name="connsiteX36" fmla="*/ 11727461 w 12191999"/>
              <a:gd name="connsiteY36" fmla="*/ 6740737 h 6858000"/>
              <a:gd name="connsiteX37" fmla="*/ 11730391 w 12191999"/>
              <a:gd name="connsiteY37" fmla="*/ 6731273 h 6858000"/>
              <a:gd name="connsiteX38" fmla="*/ 11727991 w 12191999"/>
              <a:gd name="connsiteY38" fmla="*/ 6722675 h 6858000"/>
              <a:gd name="connsiteX39" fmla="*/ 11721378 w 12191999"/>
              <a:gd name="connsiteY39" fmla="*/ 6717397 h 6858000"/>
              <a:gd name="connsiteX40" fmla="*/ 11706504 w 12191999"/>
              <a:gd name="connsiteY40" fmla="*/ 6712735 h 6858000"/>
              <a:gd name="connsiteX41" fmla="*/ 11697630 w 12191999"/>
              <a:gd name="connsiteY41" fmla="*/ 6710167 h 6858000"/>
              <a:gd name="connsiteX42" fmla="*/ 11693779 w 12191999"/>
              <a:gd name="connsiteY42" fmla="*/ 6707487 h 6858000"/>
              <a:gd name="connsiteX43" fmla="*/ 11692551 w 12191999"/>
              <a:gd name="connsiteY43" fmla="*/ 6703969 h 6858000"/>
              <a:gd name="connsiteX44" fmla="*/ 11695509 w 12191999"/>
              <a:gd name="connsiteY44" fmla="*/ 6698608 h 6858000"/>
              <a:gd name="connsiteX45" fmla="*/ 11705388 w 12191999"/>
              <a:gd name="connsiteY45" fmla="*/ 6696319 h 6858000"/>
              <a:gd name="connsiteX46" fmla="*/ 11714457 w 12191999"/>
              <a:gd name="connsiteY46" fmla="*/ 6698888 h 6858000"/>
              <a:gd name="connsiteX47" fmla="*/ 11718336 w 12191999"/>
              <a:gd name="connsiteY47" fmla="*/ 6706035 h 6858000"/>
              <a:gd name="connsiteX48" fmla="*/ 11728159 w 12191999"/>
              <a:gd name="connsiteY48" fmla="*/ 6704695 h 6858000"/>
              <a:gd name="connsiteX49" fmla="*/ 11724698 w 12191999"/>
              <a:gd name="connsiteY49" fmla="*/ 6695510 h 6858000"/>
              <a:gd name="connsiteX50" fmla="*/ 11716913 w 12191999"/>
              <a:gd name="connsiteY50" fmla="*/ 6690065 h 6858000"/>
              <a:gd name="connsiteX51" fmla="*/ 11704662 w 12191999"/>
              <a:gd name="connsiteY51" fmla="*/ 6688056 h 6858000"/>
              <a:gd name="connsiteX52" fmla="*/ 11642564 w 12191999"/>
              <a:gd name="connsiteY52" fmla="*/ 6688056 h 6858000"/>
              <a:gd name="connsiteX53" fmla="*/ 11623923 w 12191999"/>
              <a:gd name="connsiteY53" fmla="*/ 6694645 h 6858000"/>
              <a:gd name="connsiteX54" fmla="*/ 11614770 w 12191999"/>
              <a:gd name="connsiteY54" fmla="*/ 6719045 h 6858000"/>
              <a:gd name="connsiteX55" fmla="*/ 11622444 w 12191999"/>
              <a:gd name="connsiteY55" fmla="*/ 6742050 h 6858000"/>
              <a:gd name="connsiteX56" fmla="*/ 11642564 w 12191999"/>
              <a:gd name="connsiteY56" fmla="*/ 6750034 h 6858000"/>
              <a:gd name="connsiteX57" fmla="*/ 11656879 w 12191999"/>
              <a:gd name="connsiteY57" fmla="*/ 6746405 h 6858000"/>
              <a:gd name="connsiteX58" fmla="*/ 11666869 w 12191999"/>
              <a:gd name="connsiteY58" fmla="*/ 6736215 h 6858000"/>
              <a:gd name="connsiteX59" fmla="*/ 11670302 w 12191999"/>
              <a:gd name="connsiteY59" fmla="*/ 6718208 h 6858000"/>
              <a:gd name="connsiteX60" fmla="*/ 11662544 w 12191999"/>
              <a:gd name="connsiteY60" fmla="*/ 6696068 h 6858000"/>
              <a:gd name="connsiteX61" fmla="*/ 11642564 w 12191999"/>
              <a:gd name="connsiteY61" fmla="*/ 6688056 h 6858000"/>
              <a:gd name="connsiteX62" fmla="*/ 11580836 w 12191999"/>
              <a:gd name="connsiteY62" fmla="*/ 6688056 h 6858000"/>
              <a:gd name="connsiteX63" fmla="*/ 11572158 w 12191999"/>
              <a:gd name="connsiteY63" fmla="*/ 6689256 h 6858000"/>
              <a:gd name="connsiteX64" fmla="*/ 11565767 w 12191999"/>
              <a:gd name="connsiteY64" fmla="*/ 6692187 h 6858000"/>
              <a:gd name="connsiteX65" fmla="*/ 11560828 w 12191999"/>
              <a:gd name="connsiteY65" fmla="*/ 6697799 h 6858000"/>
              <a:gd name="connsiteX66" fmla="*/ 11559014 w 12191999"/>
              <a:gd name="connsiteY66" fmla="*/ 6705141 h 6858000"/>
              <a:gd name="connsiteX67" fmla="*/ 11561219 w 12191999"/>
              <a:gd name="connsiteY67" fmla="*/ 6713098 h 6858000"/>
              <a:gd name="connsiteX68" fmla="*/ 11567693 w 12191999"/>
              <a:gd name="connsiteY68" fmla="*/ 6718738 h 6858000"/>
              <a:gd name="connsiteX69" fmla="*/ 11583013 w 12191999"/>
              <a:gd name="connsiteY69" fmla="*/ 6723568 h 6858000"/>
              <a:gd name="connsiteX70" fmla="*/ 11593282 w 12191999"/>
              <a:gd name="connsiteY70" fmla="*/ 6726974 h 6858000"/>
              <a:gd name="connsiteX71" fmla="*/ 11596240 w 12191999"/>
              <a:gd name="connsiteY71" fmla="*/ 6732334 h 6858000"/>
              <a:gd name="connsiteX72" fmla="*/ 11592891 w 12191999"/>
              <a:gd name="connsiteY72" fmla="*/ 6738950 h 6858000"/>
              <a:gd name="connsiteX73" fmla="*/ 11582622 w 12191999"/>
              <a:gd name="connsiteY73" fmla="*/ 6741770 h 6858000"/>
              <a:gd name="connsiteX74" fmla="*/ 11571935 w 12191999"/>
              <a:gd name="connsiteY74" fmla="*/ 6738588 h 6858000"/>
              <a:gd name="connsiteX75" fmla="*/ 11567274 w 12191999"/>
              <a:gd name="connsiteY75" fmla="*/ 6729431 h 6858000"/>
              <a:gd name="connsiteX76" fmla="*/ 11557340 w 12191999"/>
              <a:gd name="connsiteY76" fmla="*/ 6730993 h 6858000"/>
              <a:gd name="connsiteX77" fmla="*/ 11565070 w 12191999"/>
              <a:gd name="connsiteY77" fmla="*/ 6745232 h 6858000"/>
              <a:gd name="connsiteX78" fmla="*/ 11582678 w 12191999"/>
              <a:gd name="connsiteY78" fmla="*/ 6750034 h 6858000"/>
              <a:gd name="connsiteX79" fmla="*/ 11595180 w 12191999"/>
              <a:gd name="connsiteY79" fmla="*/ 6747605 h 6858000"/>
              <a:gd name="connsiteX80" fmla="*/ 11603635 w 12191999"/>
              <a:gd name="connsiteY80" fmla="*/ 6740737 h 6858000"/>
              <a:gd name="connsiteX81" fmla="*/ 11606565 w 12191999"/>
              <a:gd name="connsiteY81" fmla="*/ 6731273 h 6858000"/>
              <a:gd name="connsiteX82" fmla="*/ 11604165 w 12191999"/>
              <a:gd name="connsiteY82" fmla="*/ 6722675 h 6858000"/>
              <a:gd name="connsiteX83" fmla="*/ 11597552 w 12191999"/>
              <a:gd name="connsiteY83" fmla="*/ 6717397 h 6858000"/>
              <a:gd name="connsiteX84" fmla="*/ 11582678 w 12191999"/>
              <a:gd name="connsiteY84" fmla="*/ 6712735 h 6858000"/>
              <a:gd name="connsiteX85" fmla="*/ 11573804 w 12191999"/>
              <a:gd name="connsiteY85" fmla="*/ 6710167 h 6858000"/>
              <a:gd name="connsiteX86" fmla="*/ 11569953 w 12191999"/>
              <a:gd name="connsiteY86" fmla="*/ 6707487 h 6858000"/>
              <a:gd name="connsiteX87" fmla="*/ 11568725 w 12191999"/>
              <a:gd name="connsiteY87" fmla="*/ 6703969 h 6858000"/>
              <a:gd name="connsiteX88" fmla="*/ 11571683 w 12191999"/>
              <a:gd name="connsiteY88" fmla="*/ 6698608 h 6858000"/>
              <a:gd name="connsiteX89" fmla="*/ 11581562 w 12191999"/>
              <a:gd name="connsiteY89" fmla="*/ 6696319 h 6858000"/>
              <a:gd name="connsiteX90" fmla="*/ 11590631 w 12191999"/>
              <a:gd name="connsiteY90" fmla="*/ 6698888 h 6858000"/>
              <a:gd name="connsiteX91" fmla="*/ 11594510 w 12191999"/>
              <a:gd name="connsiteY91" fmla="*/ 6706035 h 6858000"/>
              <a:gd name="connsiteX92" fmla="*/ 11604333 w 12191999"/>
              <a:gd name="connsiteY92" fmla="*/ 6704695 h 6858000"/>
              <a:gd name="connsiteX93" fmla="*/ 11600872 w 12191999"/>
              <a:gd name="connsiteY93" fmla="*/ 6695510 h 6858000"/>
              <a:gd name="connsiteX94" fmla="*/ 11593087 w 12191999"/>
              <a:gd name="connsiteY94" fmla="*/ 6690065 h 6858000"/>
              <a:gd name="connsiteX95" fmla="*/ 11580836 w 12191999"/>
              <a:gd name="connsiteY95" fmla="*/ 6688056 h 6858000"/>
              <a:gd name="connsiteX96" fmla="*/ 11523407 w 12191999"/>
              <a:gd name="connsiteY96" fmla="*/ 6688056 h 6858000"/>
              <a:gd name="connsiteX97" fmla="*/ 11513529 w 12191999"/>
              <a:gd name="connsiteY97" fmla="*/ 6690317 h 6858000"/>
              <a:gd name="connsiteX98" fmla="*/ 11506217 w 12191999"/>
              <a:gd name="connsiteY98" fmla="*/ 6697101 h 6858000"/>
              <a:gd name="connsiteX99" fmla="*/ 11506217 w 12191999"/>
              <a:gd name="connsiteY99" fmla="*/ 6689395 h 6858000"/>
              <a:gd name="connsiteX100" fmla="*/ 11497064 w 12191999"/>
              <a:gd name="connsiteY100" fmla="*/ 6689395 h 6858000"/>
              <a:gd name="connsiteX101" fmla="*/ 11497064 w 12191999"/>
              <a:gd name="connsiteY101" fmla="*/ 6771419 h 6858000"/>
              <a:gd name="connsiteX102" fmla="*/ 11507110 w 12191999"/>
              <a:gd name="connsiteY102" fmla="*/ 6771419 h 6858000"/>
              <a:gd name="connsiteX103" fmla="*/ 11507110 w 12191999"/>
              <a:gd name="connsiteY103" fmla="*/ 6742552 h 6858000"/>
              <a:gd name="connsiteX104" fmla="*/ 11513668 w 12191999"/>
              <a:gd name="connsiteY104" fmla="*/ 6747912 h 6858000"/>
              <a:gd name="connsiteX105" fmla="*/ 11522681 w 12191999"/>
              <a:gd name="connsiteY105" fmla="*/ 6750034 h 6858000"/>
              <a:gd name="connsiteX106" fmla="*/ 11535769 w 12191999"/>
              <a:gd name="connsiteY106" fmla="*/ 6746153 h 6858000"/>
              <a:gd name="connsiteX107" fmla="*/ 11545257 w 12191999"/>
              <a:gd name="connsiteY107" fmla="*/ 6734986 h 6858000"/>
              <a:gd name="connsiteX108" fmla="*/ 11548522 w 12191999"/>
              <a:gd name="connsiteY108" fmla="*/ 6718598 h 6858000"/>
              <a:gd name="connsiteX109" fmla="*/ 11545564 w 12191999"/>
              <a:gd name="connsiteY109" fmla="*/ 6702991 h 6858000"/>
              <a:gd name="connsiteX110" fmla="*/ 11536802 w 12191999"/>
              <a:gd name="connsiteY110" fmla="*/ 6691964 h 6858000"/>
              <a:gd name="connsiteX111" fmla="*/ 11523407 w 12191999"/>
              <a:gd name="connsiteY111" fmla="*/ 6688056 h 6858000"/>
              <a:gd name="connsiteX112" fmla="*/ 11387081 w 12191999"/>
              <a:gd name="connsiteY112" fmla="*/ 6681542 h 6858000"/>
              <a:gd name="connsiteX113" fmla="*/ 11375277 w 12191999"/>
              <a:gd name="connsiteY113" fmla="*/ 6684306 h 6858000"/>
              <a:gd name="connsiteX114" fmla="*/ 11367324 w 12191999"/>
              <a:gd name="connsiteY114" fmla="*/ 6692514 h 6858000"/>
              <a:gd name="connsiteX115" fmla="*/ 11364533 w 12191999"/>
              <a:gd name="connsiteY115" fmla="*/ 6705328 h 6858000"/>
              <a:gd name="connsiteX116" fmla="*/ 11370672 w 12191999"/>
              <a:gd name="connsiteY116" fmla="*/ 6722972 h 6858000"/>
              <a:gd name="connsiteX117" fmla="*/ 11386634 w 12191999"/>
              <a:gd name="connsiteY117" fmla="*/ 6729338 h 6858000"/>
              <a:gd name="connsiteX118" fmla="*/ 11399833 w 12191999"/>
              <a:gd name="connsiteY118" fmla="*/ 6725178 h 6858000"/>
              <a:gd name="connsiteX119" fmla="*/ 11406949 w 12191999"/>
              <a:gd name="connsiteY119" fmla="*/ 6714039 h 6858000"/>
              <a:gd name="connsiteX120" fmla="*/ 11400085 w 12191999"/>
              <a:gd name="connsiteY120" fmla="*/ 6712029 h 6858000"/>
              <a:gd name="connsiteX121" fmla="*/ 11395062 w 12191999"/>
              <a:gd name="connsiteY121" fmla="*/ 6719901 h 6858000"/>
              <a:gd name="connsiteX122" fmla="*/ 11386244 w 12191999"/>
              <a:gd name="connsiteY122" fmla="*/ 6722805 h 6858000"/>
              <a:gd name="connsiteX123" fmla="*/ 11376058 w 12191999"/>
              <a:gd name="connsiteY123" fmla="*/ 6718422 h 6858000"/>
              <a:gd name="connsiteX124" fmla="*/ 11372123 w 12191999"/>
              <a:gd name="connsiteY124" fmla="*/ 6705496 h 6858000"/>
              <a:gd name="connsiteX125" fmla="*/ 11376281 w 12191999"/>
              <a:gd name="connsiteY125" fmla="*/ 6692374 h 6858000"/>
              <a:gd name="connsiteX126" fmla="*/ 11386857 w 12191999"/>
              <a:gd name="connsiteY126" fmla="*/ 6687795 h 6858000"/>
              <a:gd name="connsiteX127" fmla="*/ 11394531 w 12191999"/>
              <a:gd name="connsiteY127" fmla="*/ 6690000 h 6858000"/>
              <a:gd name="connsiteX128" fmla="*/ 11399471 w 12191999"/>
              <a:gd name="connsiteY128" fmla="*/ 6696338 h 6858000"/>
              <a:gd name="connsiteX129" fmla="*/ 11406112 w 12191999"/>
              <a:gd name="connsiteY129" fmla="*/ 6694719 h 6858000"/>
              <a:gd name="connsiteX130" fmla="*/ 11399415 w 12191999"/>
              <a:gd name="connsiteY130" fmla="*/ 6685087 h 6858000"/>
              <a:gd name="connsiteX131" fmla="*/ 11387081 w 12191999"/>
              <a:gd name="connsiteY131" fmla="*/ 6681542 h 6858000"/>
              <a:gd name="connsiteX132" fmla="*/ 11386578 w 12191999"/>
              <a:gd name="connsiteY132" fmla="*/ 6672421 h 6858000"/>
              <a:gd name="connsiteX133" fmla="*/ 11403824 w 12191999"/>
              <a:gd name="connsiteY133" fmla="*/ 6676972 h 6858000"/>
              <a:gd name="connsiteX134" fmla="*/ 11416967 w 12191999"/>
              <a:gd name="connsiteY134" fmla="*/ 6689981 h 6858000"/>
              <a:gd name="connsiteX135" fmla="*/ 11421683 w 12191999"/>
              <a:gd name="connsiteY135" fmla="*/ 6707599 h 6858000"/>
              <a:gd name="connsiteX136" fmla="*/ 11417051 w 12191999"/>
              <a:gd name="connsiteY136" fmla="*/ 6725047 h 6858000"/>
              <a:gd name="connsiteX137" fmla="*/ 11404047 w 12191999"/>
              <a:gd name="connsiteY137" fmla="*/ 6738057 h 6858000"/>
              <a:gd name="connsiteX138" fmla="*/ 11386578 w 12191999"/>
              <a:gd name="connsiteY138" fmla="*/ 6742720 h 6858000"/>
              <a:gd name="connsiteX139" fmla="*/ 11369110 w 12191999"/>
              <a:gd name="connsiteY139" fmla="*/ 6738057 h 6858000"/>
              <a:gd name="connsiteX140" fmla="*/ 11356078 w 12191999"/>
              <a:gd name="connsiteY140" fmla="*/ 6725047 h 6858000"/>
              <a:gd name="connsiteX141" fmla="*/ 11351418 w 12191999"/>
              <a:gd name="connsiteY141" fmla="*/ 6707599 h 6858000"/>
              <a:gd name="connsiteX142" fmla="*/ 11356162 w 12191999"/>
              <a:gd name="connsiteY142" fmla="*/ 6689981 h 6858000"/>
              <a:gd name="connsiteX143" fmla="*/ 11369305 w 12191999"/>
              <a:gd name="connsiteY143" fmla="*/ 6676972 h 6858000"/>
              <a:gd name="connsiteX144" fmla="*/ 11386578 w 12191999"/>
              <a:gd name="connsiteY144" fmla="*/ 6672421 h 6858000"/>
              <a:gd name="connsiteX145" fmla="*/ 11469234 w 12191999"/>
              <a:gd name="connsiteY145" fmla="*/ 6666838 h 6858000"/>
              <a:gd name="connsiteX146" fmla="*/ 11469234 w 12191999"/>
              <a:gd name="connsiteY146" fmla="*/ 6748694 h 6858000"/>
              <a:gd name="connsiteX147" fmla="*/ 11480061 w 12191999"/>
              <a:gd name="connsiteY147" fmla="*/ 6748694 h 6858000"/>
              <a:gd name="connsiteX148" fmla="*/ 11480061 w 12191999"/>
              <a:gd name="connsiteY148" fmla="*/ 6666838 h 6858000"/>
              <a:gd name="connsiteX149" fmla="*/ 11386578 w 12191999"/>
              <a:gd name="connsiteY149" fmla="*/ 6665442 h 6858000"/>
              <a:gd name="connsiteX150" fmla="*/ 11365873 w 12191999"/>
              <a:gd name="connsiteY150" fmla="*/ 6670886 h 6858000"/>
              <a:gd name="connsiteX151" fmla="*/ 11350106 w 12191999"/>
              <a:gd name="connsiteY151" fmla="*/ 6686464 h 6858000"/>
              <a:gd name="connsiteX152" fmla="*/ 11344441 w 12191999"/>
              <a:gd name="connsiteY152" fmla="*/ 6707599 h 6858000"/>
              <a:gd name="connsiteX153" fmla="*/ 11350022 w 12191999"/>
              <a:gd name="connsiteY153" fmla="*/ 6728537 h 6858000"/>
              <a:gd name="connsiteX154" fmla="*/ 11365622 w 12191999"/>
              <a:gd name="connsiteY154" fmla="*/ 6744144 h 6858000"/>
              <a:gd name="connsiteX155" fmla="*/ 11386578 w 12191999"/>
              <a:gd name="connsiteY155" fmla="*/ 6749699 h 6858000"/>
              <a:gd name="connsiteX156" fmla="*/ 11407535 w 12191999"/>
              <a:gd name="connsiteY156" fmla="*/ 6744144 h 6858000"/>
              <a:gd name="connsiteX157" fmla="*/ 11423106 w 12191999"/>
              <a:gd name="connsiteY157" fmla="*/ 6728537 h 6858000"/>
              <a:gd name="connsiteX158" fmla="*/ 11428660 w 12191999"/>
              <a:gd name="connsiteY158" fmla="*/ 6707599 h 6858000"/>
              <a:gd name="connsiteX159" fmla="*/ 11423023 w 12191999"/>
              <a:gd name="connsiteY159" fmla="*/ 6686464 h 6858000"/>
              <a:gd name="connsiteX160" fmla="*/ 11407284 w 12191999"/>
              <a:gd name="connsiteY160" fmla="*/ 6670886 h 6858000"/>
              <a:gd name="connsiteX161" fmla="*/ 11386578 w 12191999"/>
              <a:gd name="connsiteY161" fmla="*/ 6665442 h 6858000"/>
              <a:gd name="connsiteX162" fmla="*/ 818352 w 12191999"/>
              <a:gd name="connsiteY162" fmla="*/ 6204523 h 6858000"/>
              <a:gd name="connsiteX163" fmla="*/ 818352 w 12191999"/>
              <a:gd name="connsiteY163" fmla="*/ 6600706 h 6858000"/>
              <a:gd name="connsiteX164" fmla="*/ 824702 w 12191999"/>
              <a:gd name="connsiteY164" fmla="*/ 6600706 h 6858000"/>
              <a:gd name="connsiteX165" fmla="*/ 824702 w 12191999"/>
              <a:gd name="connsiteY165" fmla="*/ 6204523 h 6858000"/>
              <a:gd name="connsiteX166" fmla="*/ 11344275 w 12191999"/>
              <a:gd name="connsiteY166" fmla="*/ 6199510 h 6858000"/>
              <a:gd name="connsiteX167" fmla="*/ 11344275 w 12191999"/>
              <a:gd name="connsiteY167" fmla="*/ 6537672 h 6858000"/>
              <a:gd name="connsiteX168" fmla="*/ 11344275 w 12191999"/>
              <a:gd name="connsiteY168" fmla="*/ 6609029 h 6858000"/>
              <a:gd name="connsiteX169" fmla="*/ 11737507 w 12191999"/>
              <a:gd name="connsiteY169" fmla="*/ 6609029 h 6858000"/>
              <a:gd name="connsiteX170" fmla="*/ 11755855 w 12191999"/>
              <a:gd name="connsiteY170" fmla="*/ 6556697 h 6858000"/>
              <a:gd name="connsiteX171" fmla="*/ 11780876 w 12191999"/>
              <a:gd name="connsiteY171" fmla="*/ 6199510 h 6858000"/>
              <a:gd name="connsiteX172" fmla="*/ 11344275 w 12191999"/>
              <a:gd name="connsiteY172" fmla="*/ 6199510 h 6858000"/>
              <a:gd name="connsiteX173" fmla="*/ 3834807 w 12191999"/>
              <a:gd name="connsiteY173" fmla="*/ 0 h 6858000"/>
              <a:gd name="connsiteX174" fmla="*/ 12191999 w 12191999"/>
              <a:gd name="connsiteY174" fmla="*/ 0 h 6858000"/>
              <a:gd name="connsiteX175" fmla="*/ 12191999 w 12191999"/>
              <a:gd name="connsiteY175" fmla="*/ 6858000 h 6858000"/>
              <a:gd name="connsiteX176" fmla="*/ 0 w 12191999"/>
              <a:gd name="connsiteY176" fmla="*/ 6858000 h 6858000"/>
              <a:gd name="connsiteX177" fmla="*/ 0 w 12191999"/>
              <a:gd name="connsiteY177" fmla="*/ 3763145 h 6858000"/>
              <a:gd name="connsiteX178" fmla="*/ 2739380 w 12191999"/>
              <a:gd name="connsiteY178" fmla="*/ 0 h 6858000"/>
              <a:gd name="connsiteX179" fmla="*/ 3077455 w 12191999"/>
              <a:gd name="connsiteY179" fmla="*/ 0 h 6858000"/>
              <a:gd name="connsiteX180" fmla="*/ 0 w 12191999"/>
              <a:gd name="connsiteY180" fmla="*/ 3019946 h 6858000"/>
              <a:gd name="connsiteX181" fmla="*/ 0 w 12191999"/>
              <a:gd name="connsiteY181" fmla="*/ 2688189 h 6858000"/>
              <a:gd name="connsiteX182" fmla="*/ 0 w 12191999"/>
              <a:gd name="connsiteY182" fmla="*/ 0 h 6858000"/>
              <a:gd name="connsiteX183" fmla="*/ 1982028 w 12191999"/>
              <a:gd name="connsiteY183" fmla="*/ 0 h 6858000"/>
              <a:gd name="connsiteX184" fmla="*/ 0 w 12191999"/>
              <a:gd name="connsiteY184" fmla="*/ 19449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2191999" h="6858000">
                <a:moveTo>
                  <a:pt x="11642564" y="6696375"/>
                </a:moveTo>
                <a:cubicBezTo>
                  <a:pt x="11647512" y="6696375"/>
                  <a:pt x="11651652" y="6698264"/>
                  <a:pt x="11654982" y="6702043"/>
                </a:cubicBezTo>
                <a:cubicBezTo>
                  <a:pt x="11658312" y="6705821"/>
                  <a:pt x="11659977" y="6711376"/>
                  <a:pt x="11659977" y="6718710"/>
                </a:cubicBezTo>
                <a:cubicBezTo>
                  <a:pt x="11659977" y="6726489"/>
                  <a:pt x="11658321" y="6732278"/>
                  <a:pt x="11655010" y="6736075"/>
                </a:cubicBezTo>
                <a:cubicBezTo>
                  <a:pt x="11651698" y="6739872"/>
                  <a:pt x="11647549" y="6741770"/>
                  <a:pt x="11642564" y="6741770"/>
                </a:cubicBezTo>
                <a:cubicBezTo>
                  <a:pt x="11637541" y="6741770"/>
                  <a:pt x="11633374" y="6739881"/>
                  <a:pt x="11630062" y="6736103"/>
                </a:cubicBezTo>
                <a:cubicBezTo>
                  <a:pt x="11626751" y="6732324"/>
                  <a:pt x="11625095" y="6726638"/>
                  <a:pt x="11625095" y="6719045"/>
                </a:cubicBezTo>
                <a:cubicBezTo>
                  <a:pt x="11625095" y="6711451"/>
                  <a:pt x="11626751" y="6705775"/>
                  <a:pt x="11630062" y="6702015"/>
                </a:cubicBezTo>
                <a:cubicBezTo>
                  <a:pt x="11633374" y="6698255"/>
                  <a:pt x="11637541" y="6696375"/>
                  <a:pt x="11642564" y="6696375"/>
                </a:cubicBezTo>
                <a:close/>
                <a:moveTo>
                  <a:pt x="11522458" y="6695928"/>
                </a:moveTo>
                <a:cubicBezTo>
                  <a:pt x="11526774" y="6695928"/>
                  <a:pt x="11530486" y="6697808"/>
                  <a:pt x="11533592" y="6701568"/>
                </a:cubicBezTo>
                <a:cubicBezTo>
                  <a:pt x="11536699" y="6705328"/>
                  <a:pt x="11538253" y="6710986"/>
                  <a:pt x="11538253" y="6718543"/>
                </a:cubicBezTo>
                <a:cubicBezTo>
                  <a:pt x="11538253" y="6726471"/>
                  <a:pt x="11536662" y="6732324"/>
                  <a:pt x="11533481" y="6736103"/>
                </a:cubicBezTo>
                <a:cubicBezTo>
                  <a:pt x="11530300" y="6739881"/>
                  <a:pt x="11526477" y="6741770"/>
                  <a:pt x="11522012" y="6741770"/>
                </a:cubicBezTo>
                <a:cubicBezTo>
                  <a:pt x="11517621" y="6741770"/>
                  <a:pt x="11513882" y="6739947"/>
                  <a:pt x="11510794" y="6736298"/>
                </a:cubicBezTo>
                <a:cubicBezTo>
                  <a:pt x="11507706" y="6732650"/>
                  <a:pt x="11506162" y="6727011"/>
                  <a:pt x="11506162" y="6719380"/>
                </a:cubicBezTo>
                <a:cubicBezTo>
                  <a:pt x="11506162" y="6711749"/>
                  <a:pt x="11507808" y="6705933"/>
                  <a:pt x="11511101" y="6701931"/>
                </a:cubicBezTo>
                <a:cubicBezTo>
                  <a:pt x="11514394" y="6697929"/>
                  <a:pt x="11518179" y="6695928"/>
                  <a:pt x="11522458" y="6695928"/>
                </a:cubicBezTo>
                <a:close/>
                <a:moveTo>
                  <a:pt x="11704662" y="6688056"/>
                </a:moveTo>
                <a:cubicBezTo>
                  <a:pt x="11701574" y="6688056"/>
                  <a:pt x="11698681" y="6688456"/>
                  <a:pt x="11695984" y="6689256"/>
                </a:cubicBezTo>
                <a:cubicBezTo>
                  <a:pt x="11693286" y="6690056"/>
                  <a:pt x="11691156" y="6691034"/>
                  <a:pt x="11689593" y="6692187"/>
                </a:cubicBezTo>
                <a:cubicBezTo>
                  <a:pt x="11687510" y="6693676"/>
                  <a:pt x="11685863" y="6695547"/>
                  <a:pt x="11684654" y="6697799"/>
                </a:cubicBezTo>
                <a:cubicBezTo>
                  <a:pt x="11683445" y="6700051"/>
                  <a:pt x="11682840" y="6702498"/>
                  <a:pt x="11682840" y="6705141"/>
                </a:cubicBezTo>
                <a:cubicBezTo>
                  <a:pt x="11682840" y="6708045"/>
                  <a:pt x="11683575" y="6710697"/>
                  <a:pt x="11685045" y="6713098"/>
                </a:cubicBezTo>
                <a:cubicBezTo>
                  <a:pt x="11686515" y="6715499"/>
                  <a:pt x="11688673" y="6717379"/>
                  <a:pt x="11691519" y="6718738"/>
                </a:cubicBezTo>
                <a:cubicBezTo>
                  <a:pt x="11694365" y="6720096"/>
                  <a:pt x="11699472" y="6721706"/>
                  <a:pt x="11706839" y="6723568"/>
                </a:cubicBezTo>
                <a:cubicBezTo>
                  <a:pt x="11712308" y="6724945"/>
                  <a:pt x="11715731" y="6726080"/>
                  <a:pt x="11717108" y="6726974"/>
                </a:cubicBezTo>
                <a:cubicBezTo>
                  <a:pt x="11719080" y="6728276"/>
                  <a:pt x="11720066" y="6730063"/>
                  <a:pt x="11720066" y="6732334"/>
                </a:cubicBezTo>
                <a:cubicBezTo>
                  <a:pt x="11720066" y="6734865"/>
                  <a:pt x="11718950" y="6737070"/>
                  <a:pt x="11716717" y="6738950"/>
                </a:cubicBezTo>
                <a:cubicBezTo>
                  <a:pt x="11714485" y="6740830"/>
                  <a:pt x="11711062" y="6741770"/>
                  <a:pt x="11706448" y="6741770"/>
                </a:cubicBezTo>
                <a:cubicBezTo>
                  <a:pt x="11701872" y="6741770"/>
                  <a:pt x="11698309" y="6740709"/>
                  <a:pt x="11695761" y="6738588"/>
                </a:cubicBezTo>
                <a:cubicBezTo>
                  <a:pt x="11693212" y="6736466"/>
                  <a:pt x="11691658" y="6733414"/>
                  <a:pt x="11691100" y="6729431"/>
                </a:cubicBezTo>
                <a:lnTo>
                  <a:pt x="11681166" y="6730993"/>
                </a:lnTo>
                <a:cubicBezTo>
                  <a:pt x="11682282" y="6737284"/>
                  <a:pt x="11684859" y="6742031"/>
                  <a:pt x="11688896" y="6745232"/>
                </a:cubicBezTo>
                <a:cubicBezTo>
                  <a:pt x="11692933" y="6748434"/>
                  <a:pt x="11698802" y="6750034"/>
                  <a:pt x="11706504" y="6750034"/>
                </a:cubicBezTo>
                <a:cubicBezTo>
                  <a:pt x="11711155" y="6750034"/>
                  <a:pt x="11715322" y="6749224"/>
                  <a:pt x="11719006" y="6747605"/>
                </a:cubicBezTo>
                <a:cubicBezTo>
                  <a:pt x="11722689" y="6745985"/>
                  <a:pt x="11725508" y="6743696"/>
                  <a:pt x="11727461" y="6740737"/>
                </a:cubicBezTo>
                <a:cubicBezTo>
                  <a:pt x="11729414" y="6737778"/>
                  <a:pt x="11730391" y="6734623"/>
                  <a:pt x="11730391" y="6731273"/>
                </a:cubicBezTo>
                <a:cubicBezTo>
                  <a:pt x="11730391" y="6727848"/>
                  <a:pt x="11729591" y="6724982"/>
                  <a:pt x="11727991" y="6722675"/>
                </a:cubicBezTo>
                <a:cubicBezTo>
                  <a:pt x="11726391" y="6720367"/>
                  <a:pt x="11724187" y="6718608"/>
                  <a:pt x="11721378" y="6717397"/>
                </a:cubicBezTo>
                <a:cubicBezTo>
                  <a:pt x="11718568" y="6716188"/>
                  <a:pt x="11713611" y="6714634"/>
                  <a:pt x="11706504" y="6712735"/>
                </a:cubicBezTo>
                <a:cubicBezTo>
                  <a:pt x="11701593" y="6711395"/>
                  <a:pt x="11698635" y="6710539"/>
                  <a:pt x="11697630" y="6710167"/>
                </a:cubicBezTo>
                <a:cubicBezTo>
                  <a:pt x="11695881" y="6709459"/>
                  <a:pt x="11694598" y="6708566"/>
                  <a:pt x="11693779" y="6707487"/>
                </a:cubicBezTo>
                <a:cubicBezTo>
                  <a:pt x="11692961" y="6706444"/>
                  <a:pt x="11692551" y="6705272"/>
                  <a:pt x="11692551" y="6703969"/>
                </a:cubicBezTo>
                <a:cubicBezTo>
                  <a:pt x="11692551" y="6701922"/>
                  <a:pt x="11693537" y="6700135"/>
                  <a:pt x="11695509" y="6698608"/>
                </a:cubicBezTo>
                <a:cubicBezTo>
                  <a:pt x="11697481" y="6697083"/>
                  <a:pt x="11700774" y="6696319"/>
                  <a:pt x="11705388" y="6696319"/>
                </a:cubicBezTo>
                <a:cubicBezTo>
                  <a:pt x="11709295" y="6696319"/>
                  <a:pt x="11712318" y="6697176"/>
                  <a:pt x="11714457" y="6698888"/>
                </a:cubicBezTo>
                <a:cubicBezTo>
                  <a:pt x="11716596" y="6700600"/>
                  <a:pt x="11717889" y="6702982"/>
                  <a:pt x="11718336" y="6706035"/>
                </a:cubicBezTo>
                <a:lnTo>
                  <a:pt x="11728159" y="6704695"/>
                </a:lnTo>
                <a:cubicBezTo>
                  <a:pt x="11727526" y="6700860"/>
                  <a:pt x="11726373" y="6697799"/>
                  <a:pt x="11724698" y="6695510"/>
                </a:cubicBezTo>
                <a:cubicBezTo>
                  <a:pt x="11723024" y="6693220"/>
                  <a:pt x="11720429" y="6691406"/>
                  <a:pt x="11716913" y="6690065"/>
                </a:cubicBezTo>
                <a:cubicBezTo>
                  <a:pt x="11713397" y="6688726"/>
                  <a:pt x="11709313" y="6688056"/>
                  <a:pt x="11704662" y="6688056"/>
                </a:cubicBezTo>
                <a:close/>
                <a:moveTo>
                  <a:pt x="11642564" y="6688056"/>
                </a:moveTo>
                <a:cubicBezTo>
                  <a:pt x="11635234" y="6688056"/>
                  <a:pt x="11629020" y="6690252"/>
                  <a:pt x="11623923" y="6694645"/>
                </a:cubicBezTo>
                <a:cubicBezTo>
                  <a:pt x="11617821" y="6699930"/>
                  <a:pt x="11614770" y="6708064"/>
                  <a:pt x="11614770" y="6719045"/>
                </a:cubicBezTo>
                <a:cubicBezTo>
                  <a:pt x="11614770" y="6729059"/>
                  <a:pt x="11617328" y="6736726"/>
                  <a:pt x="11622444" y="6742050"/>
                </a:cubicBezTo>
                <a:cubicBezTo>
                  <a:pt x="11627560" y="6747372"/>
                  <a:pt x="11634267" y="6750034"/>
                  <a:pt x="11642564" y="6750034"/>
                </a:cubicBezTo>
                <a:cubicBezTo>
                  <a:pt x="11647736" y="6750034"/>
                  <a:pt x="11652507" y="6748824"/>
                  <a:pt x="11656879" y="6746405"/>
                </a:cubicBezTo>
                <a:cubicBezTo>
                  <a:pt x="11661251" y="6743985"/>
                  <a:pt x="11664581" y="6740588"/>
                  <a:pt x="11666869" y="6736215"/>
                </a:cubicBezTo>
                <a:cubicBezTo>
                  <a:pt x="11669157" y="6731841"/>
                  <a:pt x="11670302" y="6725838"/>
                  <a:pt x="11670302" y="6718208"/>
                </a:cubicBezTo>
                <a:cubicBezTo>
                  <a:pt x="11670302" y="6708789"/>
                  <a:pt x="11667716" y="6701410"/>
                  <a:pt x="11662544" y="6696068"/>
                </a:cubicBezTo>
                <a:cubicBezTo>
                  <a:pt x="11657372" y="6690727"/>
                  <a:pt x="11650712" y="6688056"/>
                  <a:pt x="11642564" y="6688056"/>
                </a:cubicBezTo>
                <a:close/>
                <a:moveTo>
                  <a:pt x="11580836" y="6688056"/>
                </a:moveTo>
                <a:cubicBezTo>
                  <a:pt x="11577748" y="6688056"/>
                  <a:pt x="11574855" y="6688456"/>
                  <a:pt x="11572158" y="6689256"/>
                </a:cubicBezTo>
                <a:cubicBezTo>
                  <a:pt x="11569460" y="6690056"/>
                  <a:pt x="11567330" y="6691034"/>
                  <a:pt x="11565767" y="6692187"/>
                </a:cubicBezTo>
                <a:cubicBezTo>
                  <a:pt x="11563684" y="6693676"/>
                  <a:pt x="11562037" y="6695547"/>
                  <a:pt x="11560828" y="6697799"/>
                </a:cubicBezTo>
                <a:cubicBezTo>
                  <a:pt x="11559619" y="6700051"/>
                  <a:pt x="11559014" y="6702498"/>
                  <a:pt x="11559014" y="6705141"/>
                </a:cubicBezTo>
                <a:cubicBezTo>
                  <a:pt x="11559014" y="6708045"/>
                  <a:pt x="11559749" y="6710697"/>
                  <a:pt x="11561219" y="6713098"/>
                </a:cubicBezTo>
                <a:cubicBezTo>
                  <a:pt x="11562689" y="6715499"/>
                  <a:pt x="11564847" y="6717379"/>
                  <a:pt x="11567693" y="6718738"/>
                </a:cubicBezTo>
                <a:cubicBezTo>
                  <a:pt x="11570539" y="6720096"/>
                  <a:pt x="11575646" y="6721706"/>
                  <a:pt x="11583013" y="6723568"/>
                </a:cubicBezTo>
                <a:cubicBezTo>
                  <a:pt x="11588482" y="6724945"/>
                  <a:pt x="11591905" y="6726080"/>
                  <a:pt x="11593282" y="6726974"/>
                </a:cubicBezTo>
                <a:cubicBezTo>
                  <a:pt x="11595254" y="6728276"/>
                  <a:pt x="11596240" y="6730063"/>
                  <a:pt x="11596240" y="6732334"/>
                </a:cubicBezTo>
                <a:cubicBezTo>
                  <a:pt x="11596240" y="6734865"/>
                  <a:pt x="11595124" y="6737070"/>
                  <a:pt x="11592891" y="6738950"/>
                </a:cubicBezTo>
                <a:cubicBezTo>
                  <a:pt x="11590659" y="6740830"/>
                  <a:pt x="11587236" y="6741770"/>
                  <a:pt x="11582622" y="6741770"/>
                </a:cubicBezTo>
                <a:cubicBezTo>
                  <a:pt x="11578046" y="6741770"/>
                  <a:pt x="11574483" y="6740709"/>
                  <a:pt x="11571935" y="6738588"/>
                </a:cubicBezTo>
                <a:cubicBezTo>
                  <a:pt x="11569386" y="6736466"/>
                  <a:pt x="11567832" y="6733414"/>
                  <a:pt x="11567274" y="6729431"/>
                </a:cubicBezTo>
                <a:lnTo>
                  <a:pt x="11557340" y="6730993"/>
                </a:lnTo>
                <a:cubicBezTo>
                  <a:pt x="11558456" y="6737284"/>
                  <a:pt x="11561033" y="6742031"/>
                  <a:pt x="11565070" y="6745232"/>
                </a:cubicBezTo>
                <a:cubicBezTo>
                  <a:pt x="11569107" y="6748434"/>
                  <a:pt x="11574976" y="6750034"/>
                  <a:pt x="11582678" y="6750034"/>
                </a:cubicBezTo>
                <a:cubicBezTo>
                  <a:pt x="11587329" y="6750034"/>
                  <a:pt x="11591496" y="6749224"/>
                  <a:pt x="11595180" y="6747605"/>
                </a:cubicBezTo>
                <a:cubicBezTo>
                  <a:pt x="11598863" y="6745985"/>
                  <a:pt x="11601682" y="6743696"/>
                  <a:pt x="11603635" y="6740737"/>
                </a:cubicBezTo>
                <a:cubicBezTo>
                  <a:pt x="11605588" y="6737778"/>
                  <a:pt x="11606565" y="6734623"/>
                  <a:pt x="11606565" y="6731273"/>
                </a:cubicBezTo>
                <a:cubicBezTo>
                  <a:pt x="11606565" y="6727848"/>
                  <a:pt x="11605765" y="6724982"/>
                  <a:pt x="11604165" y="6722675"/>
                </a:cubicBezTo>
                <a:cubicBezTo>
                  <a:pt x="11602565" y="6720367"/>
                  <a:pt x="11600361" y="6718608"/>
                  <a:pt x="11597552" y="6717397"/>
                </a:cubicBezTo>
                <a:cubicBezTo>
                  <a:pt x="11594742" y="6716188"/>
                  <a:pt x="11589785" y="6714634"/>
                  <a:pt x="11582678" y="6712735"/>
                </a:cubicBezTo>
                <a:cubicBezTo>
                  <a:pt x="11577767" y="6711395"/>
                  <a:pt x="11574809" y="6710539"/>
                  <a:pt x="11573804" y="6710167"/>
                </a:cubicBezTo>
                <a:cubicBezTo>
                  <a:pt x="11572055" y="6709459"/>
                  <a:pt x="11570772" y="6708566"/>
                  <a:pt x="11569953" y="6707487"/>
                </a:cubicBezTo>
                <a:cubicBezTo>
                  <a:pt x="11569135" y="6706444"/>
                  <a:pt x="11568725" y="6705272"/>
                  <a:pt x="11568725" y="6703969"/>
                </a:cubicBezTo>
                <a:cubicBezTo>
                  <a:pt x="11568725" y="6701922"/>
                  <a:pt x="11569711" y="6700135"/>
                  <a:pt x="11571683" y="6698608"/>
                </a:cubicBezTo>
                <a:cubicBezTo>
                  <a:pt x="11573655" y="6697083"/>
                  <a:pt x="11576948" y="6696319"/>
                  <a:pt x="11581562" y="6696319"/>
                </a:cubicBezTo>
                <a:cubicBezTo>
                  <a:pt x="11585469" y="6696319"/>
                  <a:pt x="11588492" y="6697176"/>
                  <a:pt x="11590631" y="6698888"/>
                </a:cubicBezTo>
                <a:cubicBezTo>
                  <a:pt x="11592770" y="6700600"/>
                  <a:pt x="11594063" y="6702982"/>
                  <a:pt x="11594510" y="6706035"/>
                </a:cubicBezTo>
                <a:lnTo>
                  <a:pt x="11604333" y="6704695"/>
                </a:lnTo>
                <a:cubicBezTo>
                  <a:pt x="11603700" y="6700860"/>
                  <a:pt x="11602547" y="6697799"/>
                  <a:pt x="11600872" y="6695510"/>
                </a:cubicBezTo>
                <a:cubicBezTo>
                  <a:pt x="11599198" y="6693220"/>
                  <a:pt x="11596603" y="6691406"/>
                  <a:pt x="11593087" y="6690065"/>
                </a:cubicBezTo>
                <a:cubicBezTo>
                  <a:pt x="11589571" y="6688726"/>
                  <a:pt x="11585487" y="6688056"/>
                  <a:pt x="11580836" y="6688056"/>
                </a:cubicBezTo>
                <a:close/>
                <a:moveTo>
                  <a:pt x="11523407" y="6688056"/>
                </a:moveTo>
                <a:cubicBezTo>
                  <a:pt x="11519537" y="6688056"/>
                  <a:pt x="11516245" y="6688809"/>
                  <a:pt x="11513529" y="6690317"/>
                </a:cubicBezTo>
                <a:cubicBezTo>
                  <a:pt x="11510812" y="6691824"/>
                  <a:pt x="11508375" y="6694086"/>
                  <a:pt x="11506217" y="6697101"/>
                </a:cubicBezTo>
                <a:lnTo>
                  <a:pt x="11506217" y="6689395"/>
                </a:lnTo>
                <a:lnTo>
                  <a:pt x="11497064" y="6689395"/>
                </a:lnTo>
                <a:lnTo>
                  <a:pt x="11497064" y="6771419"/>
                </a:lnTo>
                <a:lnTo>
                  <a:pt x="11507110" y="6771419"/>
                </a:lnTo>
                <a:lnTo>
                  <a:pt x="11507110" y="6742552"/>
                </a:lnTo>
                <a:cubicBezTo>
                  <a:pt x="11508822" y="6744711"/>
                  <a:pt x="11511008" y="6746498"/>
                  <a:pt x="11513668" y="6747912"/>
                </a:cubicBezTo>
                <a:cubicBezTo>
                  <a:pt x="11516328" y="6749327"/>
                  <a:pt x="11519333" y="6750034"/>
                  <a:pt x="11522681" y="6750034"/>
                </a:cubicBezTo>
                <a:cubicBezTo>
                  <a:pt x="11527258" y="6750034"/>
                  <a:pt x="11531620" y="6748741"/>
                  <a:pt x="11535769" y="6746153"/>
                </a:cubicBezTo>
                <a:cubicBezTo>
                  <a:pt x="11539918" y="6743566"/>
                  <a:pt x="11543080" y="6739844"/>
                  <a:pt x="11545257" y="6734986"/>
                </a:cubicBezTo>
                <a:cubicBezTo>
                  <a:pt x="11547433" y="6730128"/>
                  <a:pt x="11548522" y="6724666"/>
                  <a:pt x="11548522" y="6718598"/>
                </a:cubicBezTo>
                <a:cubicBezTo>
                  <a:pt x="11548522" y="6712940"/>
                  <a:pt x="11547536" y="6707738"/>
                  <a:pt x="11545564" y="6702991"/>
                </a:cubicBezTo>
                <a:cubicBezTo>
                  <a:pt x="11543592" y="6698245"/>
                  <a:pt x="11540671" y="6694570"/>
                  <a:pt x="11536802" y="6691964"/>
                </a:cubicBezTo>
                <a:cubicBezTo>
                  <a:pt x="11532932" y="6689358"/>
                  <a:pt x="11528467" y="6688056"/>
                  <a:pt x="11523407" y="6688056"/>
                </a:cubicBezTo>
                <a:close/>
                <a:moveTo>
                  <a:pt x="11387081" y="6681542"/>
                </a:moveTo>
                <a:cubicBezTo>
                  <a:pt x="11382653" y="6681542"/>
                  <a:pt x="11378718" y="6682463"/>
                  <a:pt x="11375277" y="6684306"/>
                </a:cubicBezTo>
                <a:cubicBezTo>
                  <a:pt x="11371835" y="6686148"/>
                  <a:pt x="11369184" y="6688884"/>
                  <a:pt x="11367324" y="6692514"/>
                </a:cubicBezTo>
                <a:cubicBezTo>
                  <a:pt x="11365463" y="6696142"/>
                  <a:pt x="11364533" y="6700414"/>
                  <a:pt x="11364533" y="6705328"/>
                </a:cubicBezTo>
                <a:cubicBezTo>
                  <a:pt x="11364533" y="6712847"/>
                  <a:pt x="11366580" y="6718729"/>
                  <a:pt x="11370672" y="6722972"/>
                </a:cubicBezTo>
                <a:cubicBezTo>
                  <a:pt x="11374765" y="6727216"/>
                  <a:pt x="11380086" y="6729338"/>
                  <a:pt x="11386634" y="6729338"/>
                </a:cubicBezTo>
                <a:cubicBezTo>
                  <a:pt x="11391806" y="6729338"/>
                  <a:pt x="11396206" y="6727951"/>
                  <a:pt x="11399833" y="6725178"/>
                </a:cubicBezTo>
                <a:cubicBezTo>
                  <a:pt x="11403461" y="6722404"/>
                  <a:pt x="11405833" y="6718692"/>
                  <a:pt x="11406949" y="6714039"/>
                </a:cubicBezTo>
                <a:lnTo>
                  <a:pt x="11400085" y="6712029"/>
                </a:lnTo>
                <a:cubicBezTo>
                  <a:pt x="11399266" y="6715341"/>
                  <a:pt x="11397592" y="6717965"/>
                  <a:pt x="11395062" y="6719901"/>
                </a:cubicBezTo>
                <a:cubicBezTo>
                  <a:pt x="11392532" y="6721837"/>
                  <a:pt x="11389592" y="6722805"/>
                  <a:pt x="11386244" y="6722805"/>
                </a:cubicBezTo>
                <a:cubicBezTo>
                  <a:pt x="11382076" y="6722805"/>
                  <a:pt x="11378681" y="6721344"/>
                  <a:pt x="11376058" y="6718422"/>
                </a:cubicBezTo>
                <a:cubicBezTo>
                  <a:pt x="11373435" y="6715499"/>
                  <a:pt x="11372123" y="6711190"/>
                  <a:pt x="11372123" y="6705496"/>
                </a:cubicBezTo>
                <a:cubicBezTo>
                  <a:pt x="11372123" y="6699800"/>
                  <a:pt x="11373509" y="6695426"/>
                  <a:pt x="11376281" y="6692374"/>
                </a:cubicBezTo>
                <a:cubicBezTo>
                  <a:pt x="11379053" y="6689321"/>
                  <a:pt x="11382579" y="6687795"/>
                  <a:pt x="11386857" y="6687795"/>
                </a:cubicBezTo>
                <a:cubicBezTo>
                  <a:pt x="11389797" y="6687795"/>
                  <a:pt x="11392355" y="6688531"/>
                  <a:pt x="11394531" y="6690000"/>
                </a:cubicBezTo>
                <a:cubicBezTo>
                  <a:pt x="11396708" y="6691471"/>
                  <a:pt x="11398354" y="6693583"/>
                  <a:pt x="11399471" y="6696338"/>
                </a:cubicBezTo>
                <a:lnTo>
                  <a:pt x="11406112" y="6694719"/>
                </a:lnTo>
                <a:cubicBezTo>
                  <a:pt x="11404921" y="6690662"/>
                  <a:pt x="11402689" y="6687451"/>
                  <a:pt x="11399415" y="6685087"/>
                </a:cubicBezTo>
                <a:cubicBezTo>
                  <a:pt x="11396141" y="6682723"/>
                  <a:pt x="11392029" y="6681542"/>
                  <a:pt x="11387081" y="6681542"/>
                </a:cubicBezTo>
                <a:close/>
                <a:moveTo>
                  <a:pt x="11386578" y="6672421"/>
                </a:moveTo>
                <a:cubicBezTo>
                  <a:pt x="11392457" y="6672421"/>
                  <a:pt x="11398206" y="6673938"/>
                  <a:pt x="11403824" y="6676972"/>
                </a:cubicBezTo>
                <a:cubicBezTo>
                  <a:pt x="11409442" y="6680006"/>
                  <a:pt x="11413823" y="6684343"/>
                  <a:pt x="11416967" y="6689981"/>
                </a:cubicBezTo>
                <a:cubicBezTo>
                  <a:pt x="11420111" y="6695621"/>
                  <a:pt x="11421683" y="6701494"/>
                  <a:pt x="11421683" y="6707599"/>
                </a:cubicBezTo>
                <a:cubicBezTo>
                  <a:pt x="11421683" y="6713665"/>
                  <a:pt x="11420139" y="6719482"/>
                  <a:pt x="11417051" y="6725047"/>
                </a:cubicBezTo>
                <a:cubicBezTo>
                  <a:pt x="11413963" y="6730612"/>
                  <a:pt x="11409628" y="6734949"/>
                  <a:pt x="11404047" y="6738057"/>
                </a:cubicBezTo>
                <a:cubicBezTo>
                  <a:pt x="11398466" y="6741165"/>
                  <a:pt x="11392643" y="6742720"/>
                  <a:pt x="11386578" y="6742720"/>
                </a:cubicBezTo>
                <a:cubicBezTo>
                  <a:pt x="11380514" y="6742720"/>
                  <a:pt x="11374691" y="6741165"/>
                  <a:pt x="11369110" y="6738057"/>
                </a:cubicBezTo>
                <a:cubicBezTo>
                  <a:pt x="11363529" y="6734949"/>
                  <a:pt x="11359185" y="6730612"/>
                  <a:pt x="11356078" y="6725047"/>
                </a:cubicBezTo>
                <a:cubicBezTo>
                  <a:pt x="11352971" y="6719482"/>
                  <a:pt x="11351418" y="6713665"/>
                  <a:pt x="11351418" y="6707599"/>
                </a:cubicBezTo>
                <a:cubicBezTo>
                  <a:pt x="11351418" y="6701494"/>
                  <a:pt x="11352999" y="6695621"/>
                  <a:pt x="11356162" y="6689981"/>
                </a:cubicBezTo>
                <a:cubicBezTo>
                  <a:pt x="11359324" y="6684343"/>
                  <a:pt x="11363705" y="6680006"/>
                  <a:pt x="11369305" y="6676972"/>
                </a:cubicBezTo>
                <a:cubicBezTo>
                  <a:pt x="11374905" y="6673938"/>
                  <a:pt x="11380662" y="6672421"/>
                  <a:pt x="11386578" y="6672421"/>
                </a:cubicBezTo>
                <a:close/>
                <a:moveTo>
                  <a:pt x="11469234" y="6666838"/>
                </a:moveTo>
                <a:lnTo>
                  <a:pt x="11469234" y="6748694"/>
                </a:lnTo>
                <a:lnTo>
                  <a:pt x="11480061" y="6748694"/>
                </a:lnTo>
                <a:lnTo>
                  <a:pt x="11480061" y="6666838"/>
                </a:lnTo>
                <a:close/>
                <a:moveTo>
                  <a:pt x="11386578" y="6665442"/>
                </a:moveTo>
                <a:cubicBezTo>
                  <a:pt x="11379509" y="6665442"/>
                  <a:pt x="11372607" y="6667257"/>
                  <a:pt x="11365873" y="6670886"/>
                </a:cubicBezTo>
                <a:cubicBezTo>
                  <a:pt x="11359138" y="6674515"/>
                  <a:pt x="11353883" y="6679708"/>
                  <a:pt x="11350106" y="6686464"/>
                </a:cubicBezTo>
                <a:cubicBezTo>
                  <a:pt x="11346330" y="6693220"/>
                  <a:pt x="11344441" y="6700265"/>
                  <a:pt x="11344441" y="6707599"/>
                </a:cubicBezTo>
                <a:cubicBezTo>
                  <a:pt x="11344441" y="6714857"/>
                  <a:pt x="11346302" y="6721836"/>
                  <a:pt x="11350022" y="6728537"/>
                </a:cubicBezTo>
                <a:cubicBezTo>
                  <a:pt x="11353743" y="6735237"/>
                  <a:pt x="11358943" y="6740440"/>
                  <a:pt x="11365622" y="6744144"/>
                </a:cubicBezTo>
                <a:cubicBezTo>
                  <a:pt x="11372300" y="6747847"/>
                  <a:pt x="11379286" y="6749699"/>
                  <a:pt x="11386578" y="6749699"/>
                </a:cubicBezTo>
                <a:cubicBezTo>
                  <a:pt x="11393871" y="6749699"/>
                  <a:pt x="11400857" y="6747847"/>
                  <a:pt x="11407535" y="6744144"/>
                </a:cubicBezTo>
                <a:cubicBezTo>
                  <a:pt x="11414214" y="6740440"/>
                  <a:pt x="11419404" y="6735237"/>
                  <a:pt x="11423106" y="6728537"/>
                </a:cubicBezTo>
                <a:cubicBezTo>
                  <a:pt x="11426809" y="6721836"/>
                  <a:pt x="11428660" y="6714857"/>
                  <a:pt x="11428660" y="6707599"/>
                </a:cubicBezTo>
                <a:cubicBezTo>
                  <a:pt x="11428660" y="6700265"/>
                  <a:pt x="11426781" y="6693220"/>
                  <a:pt x="11423023" y="6686464"/>
                </a:cubicBezTo>
                <a:cubicBezTo>
                  <a:pt x="11419265" y="6679708"/>
                  <a:pt x="11414019" y="6674515"/>
                  <a:pt x="11407284" y="6670886"/>
                </a:cubicBezTo>
                <a:cubicBezTo>
                  <a:pt x="11400550" y="6667257"/>
                  <a:pt x="11393648" y="6665442"/>
                  <a:pt x="11386578" y="6665442"/>
                </a:cubicBezTo>
                <a:close/>
                <a:moveTo>
                  <a:pt x="818352" y="6204523"/>
                </a:moveTo>
                <a:lnTo>
                  <a:pt x="818352" y="6600706"/>
                </a:lnTo>
                <a:lnTo>
                  <a:pt x="824702" y="6600706"/>
                </a:lnTo>
                <a:lnTo>
                  <a:pt x="824702" y="6204523"/>
                </a:lnTo>
                <a:close/>
                <a:moveTo>
                  <a:pt x="11344275" y="6199510"/>
                </a:moveTo>
                <a:cubicBezTo>
                  <a:pt x="11344275" y="6199510"/>
                  <a:pt x="11344275" y="6199510"/>
                  <a:pt x="11344275" y="6537672"/>
                </a:cubicBezTo>
                <a:lnTo>
                  <a:pt x="11344275" y="6609029"/>
                </a:lnTo>
                <a:lnTo>
                  <a:pt x="11737507" y="6609029"/>
                </a:lnTo>
                <a:lnTo>
                  <a:pt x="11755855" y="6556697"/>
                </a:lnTo>
                <a:cubicBezTo>
                  <a:pt x="11794321" y="6433809"/>
                  <a:pt x="11797956" y="6319269"/>
                  <a:pt x="11780876" y="6199510"/>
                </a:cubicBezTo>
                <a:cubicBezTo>
                  <a:pt x="11780876" y="6199510"/>
                  <a:pt x="11780876" y="6199510"/>
                  <a:pt x="11344275" y="6199510"/>
                </a:cubicBezTo>
                <a:close/>
                <a:moveTo>
                  <a:pt x="3834807" y="0"/>
                </a:moveTo>
                <a:lnTo>
                  <a:pt x="12191999" y="0"/>
                </a:lnTo>
                <a:lnTo>
                  <a:pt x="12191999" y="6858000"/>
                </a:lnTo>
                <a:lnTo>
                  <a:pt x="0" y="6858000"/>
                </a:lnTo>
                <a:lnTo>
                  <a:pt x="0" y="3763145"/>
                </a:lnTo>
                <a:close/>
                <a:moveTo>
                  <a:pt x="2739380" y="0"/>
                </a:moveTo>
                <a:lnTo>
                  <a:pt x="3077455" y="0"/>
                </a:lnTo>
                <a:lnTo>
                  <a:pt x="0" y="3019946"/>
                </a:lnTo>
                <a:lnTo>
                  <a:pt x="0" y="2688189"/>
                </a:lnTo>
                <a:close/>
                <a:moveTo>
                  <a:pt x="0" y="0"/>
                </a:moveTo>
                <a:lnTo>
                  <a:pt x="1982028" y="0"/>
                </a:lnTo>
                <a:lnTo>
                  <a:pt x="0" y="1944990"/>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US" smtClean="0"/>
              <a:pPr/>
              <a:t>‹#›</a:t>
            </a:fld>
            <a:r>
              <a:rPr lang="en-US" dirty="0"/>
              <a:t> </a:t>
            </a:r>
          </a:p>
        </p:txBody>
      </p:sp>
      <p:grpSp>
        <p:nvGrpSpPr>
          <p:cNvPr id="13" name="Angled stripes">
            <a:extLst>
              <a:ext uri="{FF2B5EF4-FFF2-40B4-BE49-F238E27FC236}">
                <a16:creationId xmlns:a16="http://schemas.microsoft.com/office/drawing/2014/main" id="{65EB0BC4-55DB-4A06-B213-A1C044FFD4B2}"/>
              </a:ext>
            </a:extLst>
          </p:cNvPr>
          <p:cNvGrpSpPr/>
          <p:nvPr userDrawn="1"/>
        </p:nvGrpSpPr>
        <p:grpSpPr>
          <a:xfrm>
            <a:off x="0" y="1"/>
            <a:ext cx="3834809" cy="3763146"/>
            <a:chOff x="0" y="1"/>
            <a:chExt cx="3834809" cy="3763146"/>
          </a:xfrm>
        </p:grpSpPr>
        <p:sp>
          <p:nvSpPr>
            <p:cNvPr id="14" name="Angled stripe 2">
              <a:extLst>
                <a:ext uri="{FF2B5EF4-FFF2-40B4-BE49-F238E27FC236}">
                  <a16:creationId xmlns:a16="http://schemas.microsoft.com/office/drawing/2014/main" id="{814DDFBA-3806-40B1-A5D0-D2CAC9A7F1CD}"/>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Angled stripe 1">
              <a:extLst>
                <a:ext uri="{FF2B5EF4-FFF2-40B4-BE49-F238E27FC236}">
                  <a16:creationId xmlns:a16="http://schemas.microsoft.com/office/drawing/2014/main" id="{2F8D39F7-DAA5-4663-891E-E8B7D92D1080}"/>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0" name="(c) Ipsos">
            <a:extLst>
              <a:ext uri="{FF2B5EF4-FFF2-40B4-BE49-F238E27FC236}">
                <a16:creationId xmlns:a16="http://schemas.microsoft.com/office/drawing/2014/main" id="{00D35275-11E0-4644-9115-1DF307DE6031}"/>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23" name="Graphique 8">
            <a:extLst>
              <a:ext uri="{FF2B5EF4-FFF2-40B4-BE49-F238E27FC236}">
                <a16:creationId xmlns:a16="http://schemas.microsoft.com/office/drawing/2014/main" id="{B38B4E8A-A152-4625-B90B-FEE7CCF1221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cxnSp>
        <p:nvCxnSpPr>
          <p:cNvPr id="17" name="Straight Connector 16">
            <a:extLst>
              <a:ext uri="{FF2B5EF4-FFF2-40B4-BE49-F238E27FC236}">
                <a16:creationId xmlns:a16="http://schemas.microsoft.com/office/drawing/2014/main" id="{2970B436-F1D7-483C-A712-0CEE46EA547E}"/>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Line cutout">
            <a:extLst>
              <a:ext uri="{FF2B5EF4-FFF2-40B4-BE49-F238E27FC236}">
                <a16:creationId xmlns:a16="http://schemas.microsoft.com/office/drawing/2014/main" id="{5CD17D11-DA27-4236-A758-83D8CE55EC91}"/>
              </a:ext>
            </a:extLst>
          </p:cNvPr>
          <p:cNvSpPr/>
          <p:nvPr userDrawn="1"/>
        </p:nvSpPr>
        <p:spPr>
          <a:xfrm>
            <a:off x="818354" y="6201650"/>
            <a:ext cx="6350" cy="3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Tree>
    <p:extLst>
      <p:ext uri="{BB962C8B-B14F-4D97-AF65-F5344CB8AC3E}">
        <p14:creationId xmlns:p14="http://schemas.microsoft.com/office/powerpoint/2010/main" val="3857583436"/>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330CA53-698F-485C-95DE-2FF6E6AF579C}"/>
              </a:ext>
            </a:extLst>
          </p:cNvPr>
          <p:cNvSpPr>
            <a:spLocks noGrp="1"/>
          </p:cNvSpPr>
          <p:nvPr>
            <p:ph type="sldNum" sz="quarter" idx="10"/>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0)">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 name="Angled stripes">
            <a:extLst>
              <a:ext uri="{FF2B5EF4-FFF2-40B4-BE49-F238E27FC236}">
                <a16:creationId xmlns:a16="http://schemas.microsoft.com/office/drawing/2014/main" id="{EEC4DFB3-BEFE-416D-A1C5-C0940A3809BA}"/>
              </a:ext>
            </a:extLst>
          </p:cNvPr>
          <p:cNvGrpSpPr/>
          <p:nvPr userDrawn="1"/>
        </p:nvGrpSpPr>
        <p:grpSpPr>
          <a:xfrm>
            <a:off x="2101012" y="2821242"/>
            <a:ext cx="11833943" cy="1855206"/>
            <a:chOff x="2101012" y="2821242"/>
            <a:chExt cx="11833943" cy="1855206"/>
          </a:xfrm>
        </p:grpSpPr>
        <p:sp>
          <p:nvSpPr>
            <p:cNvPr id="29" name="Angled stripe 1">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Angled stripe 2">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GameChangers">
            <a:extLst>
              <a:ext uri="{FF2B5EF4-FFF2-40B4-BE49-F238E27FC236}">
                <a16:creationId xmlns:a16="http://schemas.microsoft.com/office/drawing/2014/main" id="{FB7FEBB2-1ED6-4A73-9FD0-14F04828ED4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28" name="IpsosLogo">
            <a:extLst>
              <a:ext uri="{FF2B5EF4-FFF2-40B4-BE49-F238E27FC236}">
                <a16:creationId xmlns:a16="http://schemas.microsoft.com/office/drawing/2014/main" id="{766306CE-117B-4980-B6FE-E25BE04BFE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9" name="Ipsos Copyright">
            <a:extLst>
              <a:ext uri="{FF2B5EF4-FFF2-40B4-BE49-F238E27FC236}">
                <a16:creationId xmlns:a16="http://schemas.microsoft.com/office/drawing/2014/main" id="{FA5A380A-E186-4B0C-B3BC-70BC6B1F67CD}"/>
              </a:ext>
            </a:extLst>
          </p:cNvPr>
          <p:cNvSpPr txBox="1"/>
          <p:nvPr userDrawn="1"/>
        </p:nvSpPr>
        <p:spPr>
          <a:xfrm>
            <a:off x="7000150" y="6368649"/>
            <a:ext cx="4593853" cy="276999"/>
          </a:xfrm>
          <a:prstGeom prst="rect">
            <a:avLst/>
          </a:prstGeom>
        </p:spPr>
        <p:txBody>
          <a:bodyPr vert="horz" wrap="square" lIns="0" tIns="0" rIns="0" bIns="0" rtlCol="0">
            <a:spAutoFit/>
          </a:bodyPr>
          <a:lstStyle/>
          <a:p>
            <a:pPr algn="r"/>
            <a:r>
              <a:rPr lang="en-US" sz="900" dirty="0">
                <a:solidFill>
                  <a:schemeClr val="bg1"/>
                </a:solidFill>
              </a:rPr>
              <a:t>© 2020 Ipsos. All rights reserved. Contains Ipsos' Confidential and Proprietary information and may not be disclosed or reproduced without the prior written consent of Ipsos.</a:t>
            </a:r>
          </a:p>
        </p:txBody>
      </p:sp>
      <p:sp>
        <p:nvSpPr>
          <p:cNvPr id="46" name="Thank">
            <a:extLst>
              <a:ext uri="{FF2B5EF4-FFF2-40B4-BE49-F238E27FC236}">
                <a16:creationId xmlns:a16="http://schemas.microsoft.com/office/drawing/2014/main" id="{601BBF54-2EA0-4535-B5C7-3E533B5AB9A4}"/>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47" name="You">
            <a:extLst>
              <a:ext uri="{FF2B5EF4-FFF2-40B4-BE49-F238E27FC236}">
                <a16:creationId xmlns:a16="http://schemas.microsoft.com/office/drawing/2014/main" id="{D0D4156D-3B20-4A9F-8188-B689789B85AD}"/>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spTree>
    <p:extLst>
      <p:ext uri="{BB962C8B-B14F-4D97-AF65-F5344CB8AC3E}">
        <p14:creationId xmlns:p14="http://schemas.microsoft.com/office/powerpoint/2010/main" val="3197851467"/>
      </p:ext>
    </p:extLst>
  </p:cSld>
  <p:clrMapOvr>
    <a:masterClrMapping/>
  </p:clrMapOvr>
  <p:extLst>
    <p:ext uri="{DCECCB84-F9BA-43D5-87BE-67443E8EF086}">
      <p15:sldGuideLst xmlns:p15="http://schemas.microsoft.com/office/powerpoint/2012/main">
        <p15:guide id="1" pos="39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30" name="Angled stripes">
            <a:extLst>
              <a:ext uri="{FF2B5EF4-FFF2-40B4-BE49-F238E27FC236}">
                <a16:creationId xmlns:a16="http://schemas.microsoft.com/office/drawing/2014/main" id="{C8B8AF00-7F29-4059-919A-34AB8FF761EE}"/>
              </a:ext>
            </a:extLst>
          </p:cNvPr>
          <p:cNvGrpSpPr/>
          <p:nvPr userDrawn="1"/>
        </p:nvGrpSpPr>
        <p:grpSpPr>
          <a:xfrm>
            <a:off x="2101012" y="2821242"/>
            <a:ext cx="11833943" cy="1855206"/>
            <a:chOff x="2101012" y="2821242"/>
            <a:chExt cx="11833943" cy="1855206"/>
          </a:xfrm>
        </p:grpSpPr>
        <p:sp>
          <p:nvSpPr>
            <p:cNvPr id="32" name="Angled stripe 1">
              <a:extLst>
                <a:ext uri="{FF2B5EF4-FFF2-40B4-BE49-F238E27FC236}">
                  <a16:creationId xmlns:a16="http://schemas.microsoft.com/office/drawing/2014/main" id="{DADD97D1-C55F-4E52-9379-40C2C5016806}"/>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Angled stripe 2">
              <a:extLst>
                <a:ext uri="{FF2B5EF4-FFF2-40B4-BE49-F238E27FC236}">
                  <a16:creationId xmlns:a16="http://schemas.microsoft.com/office/drawing/2014/main" id="{28F4E720-20CB-4FAB-A8EA-39AC17295C41}"/>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6" name="GameChangers">
            <a:extLst>
              <a:ext uri="{FF2B5EF4-FFF2-40B4-BE49-F238E27FC236}">
                <a16:creationId xmlns:a16="http://schemas.microsoft.com/office/drawing/2014/main" id="{61907518-2C9D-4916-A2E9-4FD5F5977DA8}"/>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37" name="IpsosLogo">
            <a:extLst>
              <a:ext uri="{FF2B5EF4-FFF2-40B4-BE49-F238E27FC236}">
                <a16:creationId xmlns:a16="http://schemas.microsoft.com/office/drawing/2014/main" id="{5D4E1E8D-6AD1-4899-83B2-AC2F32DCC0F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28" name="Ipsos Copyright">
            <a:extLst>
              <a:ext uri="{FF2B5EF4-FFF2-40B4-BE49-F238E27FC236}">
                <a16:creationId xmlns:a16="http://schemas.microsoft.com/office/drawing/2014/main" id="{A1D3A889-780A-494A-A28B-80878790CB22}"/>
              </a:ext>
            </a:extLst>
          </p:cNvPr>
          <p:cNvSpPr txBox="1"/>
          <p:nvPr userDrawn="1"/>
        </p:nvSpPr>
        <p:spPr>
          <a:xfrm>
            <a:off x="7000150" y="6368649"/>
            <a:ext cx="4593853" cy="276999"/>
          </a:xfrm>
          <a:prstGeom prst="rect">
            <a:avLst/>
          </a:prstGeom>
        </p:spPr>
        <p:txBody>
          <a:bodyPr vert="horz" wrap="square" lIns="0" tIns="0" rIns="0" bIns="0" rtlCol="0">
            <a:spAutoFit/>
          </a:bodyPr>
          <a:lstStyle/>
          <a:p>
            <a:pPr algn="r"/>
            <a:r>
              <a:rPr lang="en-US" sz="900" dirty="0">
                <a:solidFill>
                  <a:schemeClr val="bg1"/>
                </a:solidFill>
              </a:rPr>
              <a:t>© 2020 Ipsos. All rights reserved. Contains Ipsos' Confidential and Proprietary information and may not be disclosed or reproduced without the prior written consent of Ipsos.</a:t>
            </a:r>
          </a:p>
        </p:txBody>
      </p:sp>
      <p:sp>
        <p:nvSpPr>
          <p:cNvPr id="34" name="Thank">
            <a:extLst>
              <a:ext uri="{FF2B5EF4-FFF2-40B4-BE49-F238E27FC236}">
                <a16:creationId xmlns:a16="http://schemas.microsoft.com/office/drawing/2014/main" id="{37CA2F33-CA02-4A71-AC54-076BCBA7FE3A}"/>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35" name="You">
            <a:extLst>
              <a:ext uri="{FF2B5EF4-FFF2-40B4-BE49-F238E27FC236}">
                <a16:creationId xmlns:a16="http://schemas.microsoft.com/office/drawing/2014/main" id="{B309B63E-1974-4C2D-95EE-5527D5578F0E}"/>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2" name="Icons01">
            <a:extLst>
              <a:ext uri="{FF2B5EF4-FFF2-40B4-BE49-F238E27FC236}">
                <a16:creationId xmlns:a16="http://schemas.microsoft.com/office/drawing/2014/main" id="{82E6D07F-FEB2-4872-95FF-B60FAAF2C0F3}"/>
              </a:ext>
            </a:extLst>
          </p:cNvPr>
          <p:cNvGrpSpPr/>
          <p:nvPr userDrawn="1"/>
        </p:nvGrpSpPr>
        <p:grpSpPr>
          <a:xfrm>
            <a:off x="631150" y="4043586"/>
            <a:ext cx="464690" cy="562031"/>
            <a:chOff x="631150" y="4043586"/>
            <a:chExt cx="464690" cy="562031"/>
          </a:xfrm>
        </p:grpSpPr>
        <p:cxnSp>
          <p:nvCxnSpPr>
            <p:cNvPr id="139" name="Hline">
              <a:extLst>
                <a:ext uri="{FF2B5EF4-FFF2-40B4-BE49-F238E27FC236}">
                  <a16:creationId xmlns:a16="http://schemas.microsoft.com/office/drawing/2014/main" id="{F9951622-9DCB-4EDE-AB06-074072E00F89}"/>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IconPhone">
              <a:extLst>
                <a:ext uri="{FF2B5EF4-FFF2-40B4-BE49-F238E27FC236}">
                  <a16:creationId xmlns:a16="http://schemas.microsoft.com/office/drawing/2014/main" id="{046E5E11-DA76-4BF9-BB1E-D012E1C45F4A}"/>
                </a:ext>
              </a:extLst>
            </p:cNvPr>
            <p:cNvGrpSpPr>
              <a:grpSpLocks noChangeAspect="1"/>
            </p:cNvGrpSpPr>
            <p:nvPr/>
          </p:nvGrpSpPr>
          <p:grpSpPr>
            <a:xfrm>
              <a:off x="631150" y="4425617"/>
              <a:ext cx="180000" cy="180000"/>
              <a:chOff x="2703390" y="3158472"/>
              <a:chExt cx="960114" cy="960114"/>
            </a:xfrm>
          </p:grpSpPr>
          <p:sp>
            <p:nvSpPr>
              <p:cNvPr id="148" name="Ellipse 125">
                <a:extLst>
                  <a:ext uri="{FF2B5EF4-FFF2-40B4-BE49-F238E27FC236}">
                    <a16:creationId xmlns:a16="http://schemas.microsoft.com/office/drawing/2014/main" id="{704E232E-2D88-4FA0-8D7C-847AB2B049A4}"/>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8E8604C7-3C6A-44CD-8D0C-4D5FDC00209D}"/>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A1251870-40E2-4515-A610-BF01C39E829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4C4A893C-D6DC-4344-B313-868E83D22170}"/>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99334B6-F29A-4A81-907E-E6D193F4900F}"/>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IconEmail">
              <a:extLst>
                <a:ext uri="{FF2B5EF4-FFF2-40B4-BE49-F238E27FC236}">
                  <a16:creationId xmlns:a16="http://schemas.microsoft.com/office/drawing/2014/main" id="{5CFB9EFF-3059-4F2C-B758-010039D4BF75}"/>
                </a:ext>
              </a:extLst>
            </p:cNvPr>
            <p:cNvGrpSpPr>
              <a:grpSpLocks noChangeAspect="1"/>
            </p:cNvGrpSpPr>
            <p:nvPr/>
          </p:nvGrpSpPr>
          <p:grpSpPr>
            <a:xfrm>
              <a:off x="631150" y="4162565"/>
              <a:ext cx="180000" cy="180000"/>
              <a:chOff x="2703390" y="4365085"/>
              <a:chExt cx="960114" cy="960114"/>
            </a:xfrm>
          </p:grpSpPr>
          <p:sp>
            <p:nvSpPr>
              <p:cNvPr id="142" name="Ellipse 125">
                <a:extLst>
                  <a:ext uri="{FF2B5EF4-FFF2-40B4-BE49-F238E27FC236}">
                    <a16:creationId xmlns:a16="http://schemas.microsoft.com/office/drawing/2014/main" id="{8220BC8E-FDC7-4EE7-8700-6A81DF6C710E}"/>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7957A88D-0B53-4533-B4C3-F852FD44E0F4}"/>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46123D2C-3CE7-418B-86E8-B94232A4B2F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E7108A6A-3513-4C31-8E9D-0D113FC55EF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5D067D68-68ED-45AE-81B5-EC33DF7DF4F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DD24D061-0E07-469E-939B-7D83B25A057A}"/>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5" name="strPhone01">
            <a:extLst>
              <a:ext uri="{FF2B5EF4-FFF2-40B4-BE49-F238E27FC236}">
                <a16:creationId xmlns:a16="http://schemas.microsoft.com/office/drawing/2014/main" id="{BCB534B6-09EA-44D3-BFF9-551B320259F0}"/>
              </a:ext>
            </a:extLst>
          </p:cNvPr>
          <p:cNvSpPr>
            <a:spLocks noGrp="1"/>
          </p:cNvSpPr>
          <p:nvPr userDrawn="1">
            <p:ph type="body" sz="quarter" idx="12"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156" name="strEmail01">
            <a:extLst>
              <a:ext uri="{FF2B5EF4-FFF2-40B4-BE49-F238E27FC236}">
                <a16:creationId xmlns:a16="http://schemas.microsoft.com/office/drawing/2014/main" id="{888684B9-CD4A-4886-8509-C2567DBF6773}"/>
              </a:ext>
            </a:extLst>
          </p:cNvPr>
          <p:cNvSpPr>
            <a:spLocks noGrp="1"/>
          </p:cNvSpPr>
          <p:nvPr userDrawn="1">
            <p:ph type="body" sz="quarter" idx="13"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154" name="strFunction01">
            <a:extLst>
              <a:ext uri="{FF2B5EF4-FFF2-40B4-BE49-F238E27FC236}">
                <a16:creationId xmlns:a16="http://schemas.microsoft.com/office/drawing/2014/main" id="{F43C5EB0-96D8-4896-92BB-154617B4019D}"/>
              </a:ext>
            </a:extLst>
          </p:cNvPr>
          <p:cNvSpPr>
            <a:spLocks noGrp="1"/>
          </p:cNvSpPr>
          <p:nvPr userDrawn="1">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153" name="strName01">
            <a:extLst>
              <a:ext uri="{FF2B5EF4-FFF2-40B4-BE49-F238E27FC236}">
                <a16:creationId xmlns:a16="http://schemas.microsoft.com/office/drawing/2014/main" id="{CA6EDA0F-2CDC-4422-81EB-FBC0023609D5}"/>
              </a:ext>
            </a:extLst>
          </p:cNvPr>
          <p:cNvSpPr>
            <a:spLocks noGrp="1"/>
          </p:cNvSpPr>
          <p:nvPr userDrawn="1">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4183269078"/>
      </p:ext>
    </p:extLst>
  </p:cSld>
  <p:clrMapOvr>
    <a:masterClrMapping/>
  </p:clrMapOvr>
  <p:extLst>
    <p:ext uri="{DCECCB84-F9BA-43D5-87BE-67443E8EF086}">
      <p15:sldGuideLst xmlns:p15="http://schemas.microsoft.com/office/powerpoint/2012/main">
        <p15:guide id="1" pos="39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2)">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48" name="Angled stripes">
            <a:extLst>
              <a:ext uri="{FF2B5EF4-FFF2-40B4-BE49-F238E27FC236}">
                <a16:creationId xmlns:a16="http://schemas.microsoft.com/office/drawing/2014/main" id="{6474FC46-18DA-4146-BB5E-A715CEC0A659}"/>
              </a:ext>
            </a:extLst>
          </p:cNvPr>
          <p:cNvGrpSpPr/>
          <p:nvPr userDrawn="1"/>
        </p:nvGrpSpPr>
        <p:grpSpPr>
          <a:xfrm>
            <a:off x="2101012" y="2821242"/>
            <a:ext cx="11833943" cy="1855206"/>
            <a:chOff x="2101012" y="2821242"/>
            <a:chExt cx="11833943" cy="1855206"/>
          </a:xfrm>
        </p:grpSpPr>
        <p:sp>
          <p:nvSpPr>
            <p:cNvPr id="49" name="Angled stripe 1">
              <a:extLst>
                <a:ext uri="{FF2B5EF4-FFF2-40B4-BE49-F238E27FC236}">
                  <a16:creationId xmlns:a16="http://schemas.microsoft.com/office/drawing/2014/main" id="{F787226F-625E-4C84-98E0-F63299370DC9}"/>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Angled stripe 2">
              <a:extLst>
                <a:ext uri="{FF2B5EF4-FFF2-40B4-BE49-F238E27FC236}">
                  <a16:creationId xmlns:a16="http://schemas.microsoft.com/office/drawing/2014/main" id="{C25B7367-1252-49A7-AFA7-FD5450E0891A}"/>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3" name="GameChangers">
            <a:extLst>
              <a:ext uri="{FF2B5EF4-FFF2-40B4-BE49-F238E27FC236}">
                <a16:creationId xmlns:a16="http://schemas.microsoft.com/office/drawing/2014/main" id="{B6B2605B-766D-4848-B404-F000387F9598}"/>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54" name="IpsosLogo">
            <a:extLst>
              <a:ext uri="{FF2B5EF4-FFF2-40B4-BE49-F238E27FC236}">
                <a16:creationId xmlns:a16="http://schemas.microsoft.com/office/drawing/2014/main" id="{467B23F8-2D0F-4AF1-8CD0-EA8EAC8708E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47" name="Ipsos Copyright">
            <a:extLst>
              <a:ext uri="{FF2B5EF4-FFF2-40B4-BE49-F238E27FC236}">
                <a16:creationId xmlns:a16="http://schemas.microsoft.com/office/drawing/2014/main" id="{78B5927F-2B8B-43EA-BC02-9A706AF888A4}"/>
              </a:ext>
            </a:extLst>
          </p:cNvPr>
          <p:cNvSpPr txBox="1"/>
          <p:nvPr userDrawn="1"/>
        </p:nvSpPr>
        <p:spPr>
          <a:xfrm>
            <a:off x="7000150" y="6368649"/>
            <a:ext cx="4593853" cy="276999"/>
          </a:xfrm>
          <a:prstGeom prst="rect">
            <a:avLst/>
          </a:prstGeom>
        </p:spPr>
        <p:txBody>
          <a:bodyPr vert="horz" wrap="square" lIns="0" tIns="0" rIns="0" bIns="0" rtlCol="0">
            <a:spAutoFit/>
          </a:bodyPr>
          <a:lstStyle/>
          <a:p>
            <a:pPr algn="r"/>
            <a:r>
              <a:rPr lang="en-US" sz="900" dirty="0">
                <a:solidFill>
                  <a:schemeClr val="bg1"/>
                </a:solidFill>
              </a:rPr>
              <a:t>© 2020 Ipsos. All rights reserved. Contains Ipsos' Confidential and Proprietary information and may not be disclosed or reproduced without the prior written consent of Ipsos.</a:t>
            </a:r>
          </a:p>
        </p:txBody>
      </p:sp>
      <p:sp>
        <p:nvSpPr>
          <p:cNvPr id="51" name="Thank">
            <a:extLst>
              <a:ext uri="{FF2B5EF4-FFF2-40B4-BE49-F238E27FC236}">
                <a16:creationId xmlns:a16="http://schemas.microsoft.com/office/drawing/2014/main" id="{FC815069-EF86-4562-8A14-D32195775E50}"/>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52" name="You">
            <a:extLst>
              <a:ext uri="{FF2B5EF4-FFF2-40B4-BE49-F238E27FC236}">
                <a16:creationId xmlns:a16="http://schemas.microsoft.com/office/drawing/2014/main" id="{79A7CBD7-0426-41BC-B6D6-47AE9AC69E87}"/>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71" name="Icons02">
            <a:extLst>
              <a:ext uri="{FF2B5EF4-FFF2-40B4-BE49-F238E27FC236}">
                <a16:creationId xmlns:a16="http://schemas.microsoft.com/office/drawing/2014/main" id="{3E9DA0FE-B996-4592-A145-6B29589E46DF}"/>
              </a:ext>
            </a:extLst>
          </p:cNvPr>
          <p:cNvGrpSpPr/>
          <p:nvPr userDrawn="1"/>
        </p:nvGrpSpPr>
        <p:grpSpPr>
          <a:xfrm>
            <a:off x="5267422" y="4043586"/>
            <a:ext cx="464690" cy="562031"/>
            <a:chOff x="631150" y="4043586"/>
            <a:chExt cx="464690" cy="562031"/>
          </a:xfrm>
        </p:grpSpPr>
        <p:cxnSp>
          <p:nvCxnSpPr>
            <p:cNvPr id="172" name="Hline">
              <a:extLst>
                <a:ext uri="{FF2B5EF4-FFF2-40B4-BE49-F238E27FC236}">
                  <a16:creationId xmlns:a16="http://schemas.microsoft.com/office/drawing/2014/main" id="{E0820381-BA9F-4292-B89B-326958559A6A}"/>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73" name="IconPhone">
              <a:extLst>
                <a:ext uri="{FF2B5EF4-FFF2-40B4-BE49-F238E27FC236}">
                  <a16:creationId xmlns:a16="http://schemas.microsoft.com/office/drawing/2014/main" id="{09A41851-6783-4747-90A0-401C39D757A9}"/>
                </a:ext>
              </a:extLst>
            </p:cNvPr>
            <p:cNvGrpSpPr>
              <a:grpSpLocks noChangeAspect="1"/>
            </p:cNvGrpSpPr>
            <p:nvPr/>
          </p:nvGrpSpPr>
          <p:grpSpPr>
            <a:xfrm>
              <a:off x="631150" y="4425617"/>
              <a:ext cx="180000" cy="180000"/>
              <a:chOff x="2703390" y="3158472"/>
              <a:chExt cx="960114" cy="960114"/>
            </a:xfrm>
          </p:grpSpPr>
          <p:sp>
            <p:nvSpPr>
              <p:cNvPr id="181" name="Ellipse 125">
                <a:extLst>
                  <a:ext uri="{FF2B5EF4-FFF2-40B4-BE49-F238E27FC236}">
                    <a16:creationId xmlns:a16="http://schemas.microsoft.com/office/drawing/2014/main" id="{AFF510ED-E0BF-4FF1-960C-4F4B53F3CE7F}"/>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82" name="Group 4">
                <a:extLst>
                  <a:ext uri="{FF2B5EF4-FFF2-40B4-BE49-F238E27FC236}">
                    <a16:creationId xmlns:a16="http://schemas.microsoft.com/office/drawing/2014/main" id="{9022AFBF-0B63-4399-B3E3-61288A731917}"/>
                  </a:ext>
                </a:extLst>
              </p:cNvPr>
              <p:cNvGrpSpPr>
                <a:grpSpLocks noChangeAspect="1"/>
              </p:cNvGrpSpPr>
              <p:nvPr/>
            </p:nvGrpSpPr>
            <p:grpSpPr bwMode="auto">
              <a:xfrm>
                <a:off x="2912386" y="3366720"/>
                <a:ext cx="542122" cy="543618"/>
                <a:chOff x="2638" y="958"/>
                <a:chExt cx="1087" cy="1090"/>
              </a:xfrm>
              <a:noFill/>
            </p:grpSpPr>
            <p:sp>
              <p:nvSpPr>
                <p:cNvPr id="183" name="Freeform 5">
                  <a:extLst>
                    <a:ext uri="{FF2B5EF4-FFF2-40B4-BE49-F238E27FC236}">
                      <a16:creationId xmlns:a16="http://schemas.microsoft.com/office/drawing/2014/main" id="{4546AA30-17B8-4CD4-8A87-000ACCE4FC36}"/>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4" name="Freeform 6">
                  <a:extLst>
                    <a:ext uri="{FF2B5EF4-FFF2-40B4-BE49-F238E27FC236}">
                      <a16:creationId xmlns:a16="http://schemas.microsoft.com/office/drawing/2014/main" id="{A4FF0471-B4FD-4855-8CEB-DFBE53DD41BA}"/>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5" name="Freeform 7">
                  <a:extLst>
                    <a:ext uri="{FF2B5EF4-FFF2-40B4-BE49-F238E27FC236}">
                      <a16:creationId xmlns:a16="http://schemas.microsoft.com/office/drawing/2014/main" id="{AEC9BCE8-FF8D-4CA9-91E0-55B5FD0FD40A}"/>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74" name="IconEmail">
              <a:extLst>
                <a:ext uri="{FF2B5EF4-FFF2-40B4-BE49-F238E27FC236}">
                  <a16:creationId xmlns:a16="http://schemas.microsoft.com/office/drawing/2014/main" id="{6FD409C9-ACEA-47E6-8F0F-C91625D113B3}"/>
                </a:ext>
              </a:extLst>
            </p:cNvPr>
            <p:cNvGrpSpPr>
              <a:grpSpLocks noChangeAspect="1"/>
            </p:cNvGrpSpPr>
            <p:nvPr/>
          </p:nvGrpSpPr>
          <p:grpSpPr>
            <a:xfrm>
              <a:off x="631150" y="4162565"/>
              <a:ext cx="180000" cy="180000"/>
              <a:chOff x="2703390" y="4365085"/>
              <a:chExt cx="960114" cy="960114"/>
            </a:xfrm>
          </p:grpSpPr>
          <p:sp>
            <p:nvSpPr>
              <p:cNvPr id="175" name="Ellipse 125">
                <a:extLst>
                  <a:ext uri="{FF2B5EF4-FFF2-40B4-BE49-F238E27FC236}">
                    <a16:creationId xmlns:a16="http://schemas.microsoft.com/office/drawing/2014/main" id="{95BFDFC8-049D-49B7-8633-58549208D35A}"/>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76" name="Group 175">
                <a:extLst>
                  <a:ext uri="{FF2B5EF4-FFF2-40B4-BE49-F238E27FC236}">
                    <a16:creationId xmlns:a16="http://schemas.microsoft.com/office/drawing/2014/main" id="{43694B27-068A-4EE7-810A-7491B1866B54}"/>
                  </a:ext>
                </a:extLst>
              </p:cNvPr>
              <p:cNvGrpSpPr>
                <a:grpSpLocks noChangeAspect="1"/>
              </p:cNvGrpSpPr>
              <p:nvPr/>
            </p:nvGrpSpPr>
            <p:grpSpPr>
              <a:xfrm>
                <a:off x="2886170" y="4635603"/>
                <a:ext cx="594554" cy="419078"/>
                <a:chOff x="4562584" y="4650255"/>
                <a:chExt cx="457200" cy="322263"/>
              </a:xfrm>
            </p:grpSpPr>
            <p:sp>
              <p:nvSpPr>
                <p:cNvPr id="177" name="Line 20">
                  <a:extLst>
                    <a:ext uri="{FF2B5EF4-FFF2-40B4-BE49-F238E27FC236}">
                      <a16:creationId xmlns:a16="http://schemas.microsoft.com/office/drawing/2014/main" id="{9BA386E5-6C14-4C84-8361-BB05371DA89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21">
                  <a:extLst>
                    <a:ext uri="{FF2B5EF4-FFF2-40B4-BE49-F238E27FC236}">
                      <a16:creationId xmlns:a16="http://schemas.microsoft.com/office/drawing/2014/main" id="{CD606574-A038-4115-912B-96D833B660EF}"/>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22">
                  <a:extLst>
                    <a:ext uri="{FF2B5EF4-FFF2-40B4-BE49-F238E27FC236}">
                      <a16:creationId xmlns:a16="http://schemas.microsoft.com/office/drawing/2014/main" id="{4C227C4F-FF53-4A45-A019-67CF6AA6D354}"/>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0" name="Line 23">
                  <a:extLst>
                    <a:ext uri="{FF2B5EF4-FFF2-40B4-BE49-F238E27FC236}">
                      <a16:creationId xmlns:a16="http://schemas.microsoft.com/office/drawing/2014/main" id="{52E3DD9F-0B48-48BA-8F4A-95FC0C8E0869}"/>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86" name="strPhone02">
            <a:extLst>
              <a:ext uri="{FF2B5EF4-FFF2-40B4-BE49-F238E27FC236}">
                <a16:creationId xmlns:a16="http://schemas.microsoft.com/office/drawing/2014/main" id="{E2C0C522-12E4-4EF0-833F-E0F37D5F3D02}"/>
              </a:ext>
            </a:extLst>
          </p:cNvPr>
          <p:cNvSpPr>
            <a:spLocks noGrp="1"/>
          </p:cNvSpPr>
          <p:nvPr>
            <p:ph type="body" sz="quarter" idx="26" hasCustomPrompt="1"/>
          </p:nvPr>
        </p:nvSpPr>
        <p:spPr>
          <a:xfrm>
            <a:off x="5536979"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187" name="strEmail02">
            <a:extLst>
              <a:ext uri="{FF2B5EF4-FFF2-40B4-BE49-F238E27FC236}">
                <a16:creationId xmlns:a16="http://schemas.microsoft.com/office/drawing/2014/main" id="{DE941389-73A0-43C7-9DBA-C71D9024DCFC}"/>
              </a:ext>
            </a:extLst>
          </p:cNvPr>
          <p:cNvSpPr>
            <a:spLocks noGrp="1"/>
          </p:cNvSpPr>
          <p:nvPr>
            <p:ph type="body" sz="quarter" idx="27" hasCustomPrompt="1"/>
          </p:nvPr>
        </p:nvSpPr>
        <p:spPr>
          <a:xfrm>
            <a:off x="5536979"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188" name="strFunction02">
            <a:extLst>
              <a:ext uri="{FF2B5EF4-FFF2-40B4-BE49-F238E27FC236}">
                <a16:creationId xmlns:a16="http://schemas.microsoft.com/office/drawing/2014/main" id="{D8CBC902-433C-4313-98FA-5AA1866EC939}"/>
              </a:ext>
            </a:extLst>
          </p:cNvPr>
          <p:cNvSpPr>
            <a:spLocks noGrp="1"/>
          </p:cNvSpPr>
          <p:nvPr>
            <p:ph type="body" sz="quarter" idx="28" hasCustomPrompt="1"/>
          </p:nvPr>
        </p:nvSpPr>
        <p:spPr>
          <a:xfrm>
            <a:off x="5267422"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189" name="strName02">
            <a:extLst>
              <a:ext uri="{FF2B5EF4-FFF2-40B4-BE49-F238E27FC236}">
                <a16:creationId xmlns:a16="http://schemas.microsoft.com/office/drawing/2014/main" id="{B7CAD57A-FEFC-47FA-AF95-5D0511D06A8D}"/>
              </a:ext>
            </a:extLst>
          </p:cNvPr>
          <p:cNvSpPr>
            <a:spLocks noGrp="1"/>
          </p:cNvSpPr>
          <p:nvPr>
            <p:ph type="body" sz="quarter" idx="29" hasCustomPrompt="1"/>
          </p:nvPr>
        </p:nvSpPr>
        <p:spPr>
          <a:xfrm>
            <a:off x="5267422" y="3475694"/>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grpSp>
        <p:nvGrpSpPr>
          <p:cNvPr id="93" name="Icons01">
            <a:extLst>
              <a:ext uri="{FF2B5EF4-FFF2-40B4-BE49-F238E27FC236}">
                <a16:creationId xmlns:a16="http://schemas.microsoft.com/office/drawing/2014/main" id="{239DD276-DDB8-44F0-9FC0-D73680DA20F5}"/>
              </a:ext>
            </a:extLst>
          </p:cNvPr>
          <p:cNvGrpSpPr/>
          <p:nvPr userDrawn="1"/>
        </p:nvGrpSpPr>
        <p:grpSpPr>
          <a:xfrm>
            <a:off x="631150" y="4043586"/>
            <a:ext cx="464690" cy="562031"/>
            <a:chOff x="631150" y="4043586"/>
            <a:chExt cx="464690" cy="562031"/>
          </a:xfrm>
        </p:grpSpPr>
        <p:cxnSp>
          <p:nvCxnSpPr>
            <p:cNvPr id="94" name="Hline">
              <a:extLst>
                <a:ext uri="{FF2B5EF4-FFF2-40B4-BE49-F238E27FC236}">
                  <a16:creationId xmlns:a16="http://schemas.microsoft.com/office/drawing/2014/main" id="{2DC9BDF0-2FC5-46F1-A7B2-0ED11725DFD2}"/>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5" name="IconPhone">
              <a:extLst>
                <a:ext uri="{FF2B5EF4-FFF2-40B4-BE49-F238E27FC236}">
                  <a16:creationId xmlns:a16="http://schemas.microsoft.com/office/drawing/2014/main" id="{2F25269A-1C55-473F-BE66-A61B5F63959D}"/>
                </a:ext>
              </a:extLst>
            </p:cNvPr>
            <p:cNvGrpSpPr>
              <a:grpSpLocks noChangeAspect="1"/>
            </p:cNvGrpSpPr>
            <p:nvPr/>
          </p:nvGrpSpPr>
          <p:grpSpPr>
            <a:xfrm>
              <a:off x="631150" y="4425617"/>
              <a:ext cx="180000" cy="180000"/>
              <a:chOff x="2703390" y="3158472"/>
              <a:chExt cx="960114" cy="960114"/>
            </a:xfrm>
          </p:grpSpPr>
          <p:sp>
            <p:nvSpPr>
              <p:cNvPr id="122" name="Ellipse 125">
                <a:extLst>
                  <a:ext uri="{FF2B5EF4-FFF2-40B4-BE49-F238E27FC236}">
                    <a16:creationId xmlns:a16="http://schemas.microsoft.com/office/drawing/2014/main" id="{211F23FB-69E5-44C4-A18C-3C2073E5B11A}"/>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3" name="Group 4">
                <a:extLst>
                  <a:ext uri="{FF2B5EF4-FFF2-40B4-BE49-F238E27FC236}">
                    <a16:creationId xmlns:a16="http://schemas.microsoft.com/office/drawing/2014/main" id="{A2277612-0C18-4E4A-9946-5BDF503C9ACE}"/>
                  </a:ext>
                </a:extLst>
              </p:cNvPr>
              <p:cNvGrpSpPr>
                <a:grpSpLocks noChangeAspect="1"/>
              </p:cNvGrpSpPr>
              <p:nvPr/>
            </p:nvGrpSpPr>
            <p:grpSpPr bwMode="auto">
              <a:xfrm>
                <a:off x="2912386" y="3366720"/>
                <a:ext cx="542122" cy="543618"/>
                <a:chOff x="2638" y="958"/>
                <a:chExt cx="1087" cy="1090"/>
              </a:xfrm>
              <a:noFill/>
            </p:grpSpPr>
            <p:sp>
              <p:nvSpPr>
                <p:cNvPr id="124" name="Freeform 5">
                  <a:extLst>
                    <a:ext uri="{FF2B5EF4-FFF2-40B4-BE49-F238E27FC236}">
                      <a16:creationId xmlns:a16="http://schemas.microsoft.com/office/drawing/2014/main" id="{E539A085-2A56-42BA-8876-ECBA47781E5C}"/>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 name="Freeform 6">
                  <a:extLst>
                    <a:ext uri="{FF2B5EF4-FFF2-40B4-BE49-F238E27FC236}">
                      <a16:creationId xmlns:a16="http://schemas.microsoft.com/office/drawing/2014/main" id="{E3319C81-CAB2-4C55-9262-EE060FC47B6E}"/>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 name="Freeform 7">
                  <a:extLst>
                    <a:ext uri="{FF2B5EF4-FFF2-40B4-BE49-F238E27FC236}">
                      <a16:creationId xmlns:a16="http://schemas.microsoft.com/office/drawing/2014/main" id="{A7339AEE-CBCF-47AB-A9A5-1CD86F751448}"/>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96" name="IconEmail">
              <a:extLst>
                <a:ext uri="{FF2B5EF4-FFF2-40B4-BE49-F238E27FC236}">
                  <a16:creationId xmlns:a16="http://schemas.microsoft.com/office/drawing/2014/main" id="{6F1632F9-B621-4C38-960C-DA5E6F85B343}"/>
                </a:ext>
              </a:extLst>
            </p:cNvPr>
            <p:cNvGrpSpPr>
              <a:grpSpLocks noChangeAspect="1"/>
            </p:cNvGrpSpPr>
            <p:nvPr/>
          </p:nvGrpSpPr>
          <p:grpSpPr>
            <a:xfrm>
              <a:off x="631150" y="4162565"/>
              <a:ext cx="180000" cy="180000"/>
              <a:chOff x="2703390" y="4365085"/>
              <a:chExt cx="960114" cy="960114"/>
            </a:xfrm>
          </p:grpSpPr>
          <p:sp>
            <p:nvSpPr>
              <p:cNvPr id="97" name="Ellipse 125">
                <a:extLst>
                  <a:ext uri="{FF2B5EF4-FFF2-40B4-BE49-F238E27FC236}">
                    <a16:creationId xmlns:a16="http://schemas.microsoft.com/office/drawing/2014/main" id="{F11AD308-C899-4373-B00C-56D77249A081}"/>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17" name="Group 116">
                <a:extLst>
                  <a:ext uri="{FF2B5EF4-FFF2-40B4-BE49-F238E27FC236}">
                    <a16:creationId xmlns:a16="http://schemas.microsoft.com/office/drawing/2014/main" id="{3DC56136-2549-4CAD-A095-EA048E8BEC24}"/>
                  </a:ext>
                </a:extLst>
              </p:cNvPr>
              <p:cNvGrpSpPr>
                <a:grpSpLocks noChangeAspect="1"/>
              </p:cNvGrpSpPr>
              <p:nvPr/>
            </p:nvGrpSpPr>
            <p:grpSpPr>
              <a:xfrm>
                <a:off x="2886170" y="4635603"/>
                <a:ext cx="594554" cy="419078"/>
                <a:chOff x="4562584" y="4650255"/>
                <a:chExt cx="457200" cy="322263"/>
              </a:xfrm>
            </p:grpSpPr>
            <p:sp>
              <p:nvSpPr>
                <p:cNvPr id="118" name="Line 20">
                  <a:extLst>
                    <a:ext uri="{FF2B5EF4-FFF2-40B4-BE49-F238E27FC236}">
                      <a16:creationId xmlns:a16="http://schemas.microsoft.com/office/drawing/2014/main" id="{7465CE6F-AB4D-45E4-959F-77A21B0A5DB3}"/>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21">
                  <a:extLst>
                    <a:ext uri="{FF2B5EF4-FFF2-40B4-BE49-F238E27FC236}">
                      <a16:creationId xmlns:a16="http://schemas.microsoft.com/office/drawing/2014/main" id="{46D4B8F3-8C14-40EC-A063-FE3AF5C0750D}"/>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22">
                  <a:extLst>
                    <a:ext uri="{FF2B5EF4-FFF2-40B4-BE49-F238E27FC236}">
                      <a16:creationId xmlns:a16="http://schemas.microsoft.com/office/drawing/2014/main" id="{ECED9814-E13C-4C80-8880-0AD48CA1BB7B}"/>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1" name="Line 23">
                  <a:extLst>
                    <a:ext uri="{FF2B5EF4-FFF2-40B4-BE49-F238E27FC236}">
                      <a16:creationId xmlns:a16="http://schemas.microsoft.com/office/drawing/2014/main" id="{71D7ACFC-25B1-447D-B302-221A7C9AB7C7}"/>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27" name="strPhone01">
            <a:extLst>
              <a:ext uri="{FF2B5EF4-FFF2-40B4-BE49-F238E27FC236}">
                <a16:creationId xmlns:a16="http://schemas.microsoft.com/office/drawing/2014/main" id="{A51A564F-A374-4B3F-BD79-1C67B6213137}"/>
              </a:ext>
            </a:extLst>
          </p:cNvPr>
          <p:cNvSpPr>
            <a:spLocks noGrp="1"/>
          </p:cNvSpPr>
          <p:nvPr>
            <p:ph type="body" sz="quarter" idx="12"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128" name="strEmail01">
            <a:extLst>
              <a:ext uri="{FF2B5EF4-FFF2-40B4-BE49-F238E27FC236}">
                <a16:creationId xmlns:a16="http://schemas.microsoft.com/office/drawing/2014/main" id="{60B11F2F-B4E3-40EE-85D3-A30C1802A8E5}"/>
              </a:ext>
            </a:extLst>
          </p:cNvPr>
          <p:cNvSpPr>
            <a:spLocks noGrp="1"/>
          </p:cNvSpPr>
          <p:nvPr>
            <p:ph type="body" sz="quarter" idx="13"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129" name="strFunction01">
            <a:extLst>
              <a:ext uri="{FF2B5EF4-FFF2-40B4-BE49-F238E27FC236}">
                <a16:creationId xmlns:a16="http://schemas.microsoft.com/office/drawing/2014/main" id="{3C49658E-3019-4D0B-9138-33C7142625B7}"/>
              </a:ext>
            </a:extLst>
          </p:cNvPr>
          <p:cNvSpPr>
            <a:spLocks noGrp="1"/>
          </p:cNvSpPr>
          <p:nvPr>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130" name="strName01">
            <a:extLst>
              <a:ext uri="{FF2B5EF4-FFF2-40B4-BE49-F238E27FC236}">
                <a16:creationId xmlns:a16="http://schemas.microsoft.com/office/drawing/2014/main" id="{7409FF92-ACE7-46CA-9665-B23428452C4D}"/>
              </a:ext>
            </a:extLst>
          </p:cNvPr>
          <p:cNvSpPr>
            <a:spLocks noGrp="1"/>
          </p:cNvSpPr>
          <p:nvPr>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65069937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3)">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67" name="Angled stripes">
            <a:extLst>
              <a:ext uri="{FF2B5EF4-FFF2-40B4-BE49-F238E27FC236}">
                <a16:creationId xmlns:a16="http://schemas.microsoft.com/office/drawing/2014/main" id="{F533E234-6025-4C47-A002-B53D3206A9BC}"/>
              </a:ext>
            </a:extLst>
          </p:cNvPr>
          <p:cNvGrpSpPr/>
          <p:nvPr userDrawn="1"/>
        </p:nvGrpSpPr>
        <p:grpSpPr>
          <a:xfrm>
            <a:off x="2101012" y="2821242"/>
            <a:ext cx="11833943" cy="1855206"/>
            <a:chOff x="2101012" y="2821242"/>
            <a:chExt cx="11833943" cy="1855206"/>
          </a:xfrm>
        </p:grpSpPr>
        <p:sp>
          <p:nvSpPr>
            <p:cNvPr id="68" name="Angled stripe 1">
              <a:extLst>
                <a:ext uri="{FF2B5EF4-FFF2-40B4-BE49-F238E27FC236}">
                  <a16:creationId xmlns:a16="http://schemas.microsoft.com/office/drawing/2014/main" id="{D9A50C02-45F5-4790-A2D6-F634706348FB}"/>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Angled stripe 2">
              <a:extLst>
                <a:ext uri="{FF2B5EF4-FFF2-40B4-BE49-F238E27FC236}">
                  <a16:creationId xmlns:a16="http://schemas.microsoft.com/office/drawing/2014/main" id="{8AAA1F8F-0343-4487-8E8A-70290DE2986B}"/>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0" name="GameChangers">
            <a:extLst>
              <a:ext uri="{FF2B5EF4-FFF2-40B4-BE49-F238E27FC236}">
                <a16:creationId xmlns:a16="http://schemas.microsoft.com/office/drawing/2014/main" id="{4012E296-F82D-4B97-9EFD-8CB7483F8C78}"/>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71" name="IpsosLogo">
            <a:extLst>
              <a:ext uri="{FF2B5EF4-FFF2-40B4-BE49-F238E27FC236}">
                <a16:creationId xmlns:a16="http://schemas.microsoft.com/office/drawing/2014/main" id="{FC641C7B-CDED-49C1-9507-5D12793BAA9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66" name="Ipsos Copyright">
            <a:extLst>
              <a:ext uri="{FF2B5EF4-FFF2-40B4-BE49-F238E27FC236}">
                <a16:creationId xmlns:a16="http://schemas.microsoft.com/office/drawing/2014/main" id="{9C1E8FB8-53C6-4B29-92BE-13CA7B6A885A}"/>
              </a:ext>
            </a:extLst>
          </p:cNvPr>
          <p:cNvSpPr txBox="1"/>
          <p:nvPr userDrawn="1"/>
        </p:nvSpPr>
        <p:spPr>
          <a:xfrm>
            <a:off x="7000150" y="6368649"/>
            <a:ext cx="4593853" cy="276999"/>
          </a:xfrm>
          <a:prstGeom prst="rect">
            <a:avLst/>
          </a:prstGeom>
        </p:spPr>
        <p:txBody>
          <a:bodyPr vert="horz" wrap="square" lIns="0" tIns="0" rIns="0" bIns="0" rtlCol="0">
            <a:spAutoFit/>
          </a:bodyPr>
          <a:lstStyle/>
          <a:p>
            <a:pPr algn="r"/>
            <a:r>
              <a:rPr lang="en-US" sz="900" dirty="0">
                <a:solidFill>
                  <a:schemeClr val="bg1"/>
                </a:solidFill>
              </a:rPr>
              <a:t>© 2020 Ipsos. All rights reserved. Contains Ipsos' Confidential and Proprietary information and may not be disclosed or reproduced without the prior written consent of Ipsos.</a:t>
            </a:r>
          </a:p>
        </p:txBody>
      </p:sp>
      <p:sp>
        <p:nvSpPr>
          <p:cNvPr id="136" name="Thank">
            <a:extLst>
              <a:ext uri="{FF2B5EF4-FFF2-40B4-BE49-F238E27FC236}">
                <a16:creationId xmlns:a16="http://schemas.microsoft.com/office/drawing/2014/main" id="{C0820950-AE2F-4837-88D3-A2C0A532DA63}"/>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37" name="You">
            <a:extLst>
              <a:ext uri="{FF2B5EF4-FFF2-40B4-BE49-F238E27FC236}">
                <a16:creationId xmlns:a16="http://schemas.microsoft.com/office/drawing/2014/main" id="{DDDC6352-A020-4B44-92AD-FF8486AAAF22}"/>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29" name="Icons03">
            <a:extLst>
              <a:ext uri="{FF2B5EF4-FFF2-40B4-BE49-F238E27FC236}">
                <a16:creationId xmlns:a16="http://schemas.microsoft.com/office/drawing/2014/main" id="{055A0E85-3AC3-44F9-AFC0-413406BC8A0D}"/>
              </a:ext>
            </a:extLst>
          </p:cNvPr>
          <p:cNvGrpSpPr/>
          <p:nvPr userDrawn="1"/>
        </p:nvGrpSpPr>
        <p:grpSpPr>
          <a:xfrm>
            <a:off x="631150" y="4875303"/>
            <a:ext cx="464690" cy="562031"/>
            <a:chOff x="631150" y="4043586"/>
            <a:chExt cx="464690" cy="562031"/>
          </a:xfrm>
        </p:grpSpPr>
        <p:cxnSp>
          <p:nvCxnSpPr>
            <p:cNvPr id="130" name="Hline">
              <a:extLst>
                <a:ext uri="{FF2B5EF4-FFF2-40B4-BE49-F238E27FC236}">
                  <a16:creationId xmlns:a16="http://schemas.microsoft.com/office/drawing/2014/main" id="{0B493B13-6310-4532-8D70-14DF5181577D}"/>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31" name="IconPhone">
              <a:extLst>
                <a:ext uri="{FF2B5EF4-FFF2-40B4-BE49-F238E27FC236}">
                  <a16:creationId xmlns:a16="http://schemas.microsoft.com/office/drawing/2014/main" id="{C264DE80-C3BE-4825-82E5-9E5D10344CF5}"/>
                </a:ext>
              </a:extLst>
            </p:cNvPr>
            <p:cNvGrpSpPr>
              <a:grpSpLocks noChangeAspect="1"/>
            </p:cNvGrpSpPr>
            <p:nvPr/>
          </p:nvGrpSpPr>
          <p:grpSpPr>
            <a:xfrm>
              <a:off x="631150" y="4425617"/>
              <a:ext cx="180000" cy="180000"/>
              <a:chOff x="2703390" y="3158472"/>
              <a:chExt cx="960114" cy="960114"/>
            </a:xfrm>
          </p:grpSpPr>
          <p:sp>
            <p:nvSpPr>
              <p:cNvPr id="179" name="Ellipse 125">
                <a:extLst>
                  <a:ext uri="{FF2B5EF4-FFF2-40B4-BE49-F238E27FC236}">
                    <a16:creationId xmlns:a16="http://schemas.microsoft.com/office/drawing/2014/main" id="{A99E3C81-C18C-4543-B3E9-28AE383CFDBA}"/>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80" name="Group 4">
                <a:extLst>
                  <a:ext uri="{FF2B5EF4-FFF2-40B4-BE49-F238E27FC236}">
                    <a16:creationId xmlns:a16="http://schemas.microsoft.com/office/drawing/2014/main" id="{BEFDBF85-D60B-465B-83F8-C7AA401FE432}"/>
                  </a:ext>
                </a:extLst>
              </p:cNvPr>
              <p:cNvGrpSpPr>
                <a:grpSpLocks noChangeAspect="1"/>
              </p:cNvGrpSpPr>
              <p:nvPr/>
            </p:nvGrpSpPr>
            <p:grpSpPr bwMode="auto">
              <a:xfrm>
                <a:off x="2912386" y="3366720"/>
                <a:ext cx="542122" cy="543618"/>
                <a:chOff x="2638" y="958"/>
                <a:chExt cx="1087" cy="1090"/>
              </a:xfrm>
              <a:noFill/>
            </p:grpSpPr>
            <p:sp>
              <p:nvSpPr>
                <p:cNvPr id="181" name="Freeform 5">
                  <a:extLst>
                    <a:ext uri="{FF2B5EF4-FFF2-40B4-BE49-F238E27FC236}">
                      <a16:creationId xmlns:a16="http://schemas.microsoft.com/office/drawing/2014/main" id="{0F38E2D4-F771-4307-ABC2-225D51553132}"/>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2" name="Freeform 6">
                  <a:extLst>
                    <a:ext uri="{FF2B5EF4-FFF2-40B4-BE49-F238E27FC236}">
                      <a16:creationId xmlns:a16="http://schemas.microsoft.com/office/drawing/2014/main" id="{50445445-65F2-4A6E-93F6-C7A9C7DD15FB}"/>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3" name="Freeform 7">
                  <a:extLst>
                    <a:ext uri="{FF2B5EF4-FFF2-40B4-BE49-F238E27FC236}">
                      <a16:creationId xmlns:a16="http://schemas.microsoft.com/office/drawing/2014/main" id="{4CC16278-D44C-4F82-98F8-DEBB385DA041}"/>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32" name="IconEmail">
              <a:extLst>
                <a:ext uri="{FF2B5EF4-FFF2-40B4-BE49-F238E27FC236}">
                  <a16:creationId xmlns:a16="http://schemas.microsoft.com/office/drawing/2014/main" id="{331B4872-807C-4379-97C6-53689A75D751}"/>
                </a:ext>
              </a:extLst>
            </p:cNvPr>
            <p:cNvGrpSpPr>
              <a:grpSpLocks noChangeAspect="1"/>
            </p:cNvGrpSpPr>
            <p:nvPr/>
          </p:nvGrpSpPr>
          <p:grpSpPr>
            <a:xfrm>
              <a:off x="631150" y="4162565"/>
              <a:ext cx="180000" cy="180000"/>
              <a:chOff x="2703390" y="4365085"/>
              <a:chExt cx="960114" cy="960114"/>
            </a:xfrm>
          </p:grpSpPr>
          <p:sp>
            <p:nvSpPr>
              <p:cNvPr id="133" name="Ellipse 125">
                <a:extLst>
                  <a:ext uri="{FF2B5EF4-FFF2-40B4-BE49-F238E27FC236}">
                    <a16:creationId xmlns:a16="http://schemas.microsoft.com/office/drawing/2014/main" id="{A930A622-053F-452E-B5F6-031BAFB90E6F}"/>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34" name="Group 133">
                <a:extLst>
                  <a:ext uri="{FF2B5EF4-FFF2-40B4-BE49-F238E27FC236}">
                    <a16:creationId xmlns:a16="http://schemas.microsoft.com/office/drawing/2014/main" id="{02FA7EAC-36B9-48B6-ADDA-0F65DB912255}"/>
                  </a:ext>
                </a:extLst>
              </p:cNvPr>
              <p:cNvGrpSpPr>
                <a:grpSpLocks noChangeAspect="1"/>
              </p:cNvGrpSpPr>
              <p:nvPr/>
            </p:nvGrpSpPr>
            <p:grpSpPr>
              <a:xfrm>
                <a:off x="2886170" y="4635603"/>
                <a:ext cx="594554" cy="419078"/>
                <a:chOff x="4562584" y="4650255"/>
                <a:chExt cx="457200" cy="322263"/>
              </a:xfrm>
            </p:grpSpPr>
            <p:sp>
              <p:nvSpPr>
                <p:cNvPr id="135" name="Line 20">
                  <a:extLst>
                    <a:ext uri="{FF2B5EF4-FFF2-40B4-BE49-F238E27FC236}">
                      <a16:creationId xmlns:a16="http://schemas.microsoft.com/office/drawing/2014/main" id="{FF846325-933B-476A-9E17-BDF59CE33510}"/>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21">
                  <a:extLst>
                    <a:ext uri="{FF2B5EF4-FFF2-40B4-BE49-F238E27FC236}">
                      <a16:creationId xmlns:a16="http://schemas.microsoft.com/office/drawing/2014/main" id="{733F03C0-1270-48C2-A528-AC9C168A9D41}"/>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22">
                  <a:extLst>
                    <a:ext uri="{FF2B5EF4-FFF2-40B4-BE49-F238E27FC236}">
                      <a16:creationId xmlns:a16="http://schemas.microsoft.com/office/drawing/2014/main" id="{4D9F742A-4052-40CD-A1AD-D80115BD1F66}"/>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8" name="Line 23">
                  <a:extLst>
                    <a:ext uri="{FF2B5EF4-FFF2-40B4-BE49-F238E27FC236}">
                      <a16:creationId xmlns:a16="http://schemas.microsoft.com/office/drawing/2014/main" id="{EEF11BE7-B4BD-47B3-A2DA-E0CDBF0A15F8}"/>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84" name="strPhone03">
            <a:extLst>
              <a:ext uri="{FF2B5EF4-FFF2-40B4-BE49-F238E27FC236}">
                <a16:creationId xmlns:a16="http://schemas.microsoft.com/office/drawing/2014/main" id="{0FA7984E-A31A-4A09-BCE9-F73EF3FF56B6}"/>
              </a:ext>
            </a:extLst>
          </p:cNvPr>
          <p:cNvSpPr>
            <a:spLocks noGrp="1"/>
          </p:cNvSpPr>
          <p:nvPr>
            <p:ph type="body" sz="quarter" idx="30"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185" name="strEmail03">
            <a:extLst>
              <a:ext uri="{FF2B5EF4-FFF2-40B4-BE49-F238E27FC236}">
                <a16:creationId xmlns:a16="http://schemas.microsoft.com/office/drawing/2014/main" id="{876761D3-0A7B-4039-8F63-E82555A04BDA}"/>
              </a:ext>
            </a:extLst>
          </p:cNvPr>
          <p:cNvSpPr>
            <a:spLocks noGrp="1"/>
          </p:cNvSpPr>
          <p:nvPr>
            <p:ph type="body" sz="quarter" idx="31"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186" name="strFunction03">
            <a:extLst>
              <a:ext uri="{FF2B5EF4-FFF2-40B4-BE49-F238E27FC236}">
                <a16:creationId xmlns:a16="http://schemas.microsoft.com/office/drawing/2014/main" id="{49339CAA-799A-4F59-8B2E-168CCCCC27FA}"/>
              </a:ext>
            </a:extLst>
          </p:cNvPr>
          <p:cNvSpPr>
            <a:spLocks noGrp="1"/>
          </p:cNvSpPr>
          <p:nvPr>
            <p:ph type="body" sz="quarter" idx="32"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187" name="strName03">
            <a:extLst>
              <a:ext uri="{FF2B5EF4-FFF2-40B4-BE49-F238E27FC236}">
                <a16:creationId xmlns:a16="http://schemas.microsoft.com/office/drawing/2014/main" id="{4AE8191A-FDF2-4461-94D2-2DE1FFACF130}"/>
              </a:ext>
            </a:extLst>
          </p:cNvPr>
          <p:cNvSpPr>
            <a:spLocks noGrp="1"/>
          </p:cNvSpPr>
          <p:nvPr>
            <p:ph type="body" sz="quarter" idx="33"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grpSp>
        <p:nvGrpSpPr>
          <p:cNvPr id="91" name="Icons02">
            <a:extLst>
              <a:ext uri="{FF2B5EF4-FFF2-40B4-BE49-F238E27FC236}">
                <a16:creationId xmlns:a16="http://schemas.microsoft.com/office/drawing/2014/main" id="{B6DC9096-7FD6-4FB3-9D20-67A919B792AB}"/>
              </a:ext>
            </a:extLst>
          </p:cNvPr>
          <p:cNvGrpSpPr/>
          <p:nvPr userDrawn="1"/>
        </p:nvGrpSpPr>
        <p:grpSpPr>
          <a:xfrm>
            <a:off x="5267422" y="3434914"/>
            <a:ext cx="464690" cy="562031"/>
            <a:chOff x="631150" y="4043586"/>
            <a:chExt cx="464690" cy="562031"/>
          </a:xfrm>
        </p:grpSpPr>
        <p:cxnSp>
          <p:nvCxnSpPr>
            <p:cNvPr id="92" name="Hline">
              <a:extLst>
                <a:ext uri="{FF2B5EF4-FFF2-40B4-BE49-F238E27FC236}">
                  <a16:creationId xmlns:a16="http://schemas.microsoft.com/office/drawing/2014/main" id="{93F99D81-58D4-4264-88A5-10A2BF53EB98}"/>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3" name="IconPhone">
              <a:extLst>
                <a:ext uri="{FF2B5EF4-FFF2-40B4-BE49-F238E27FC236}">
                  <a16:creationId xmlns:a16="http://schemas.microsoft.com/office/drawing/2014/main" id="{DADE0FF6-FC95-4A15-AF1B-CB71BF8FFA42}"/>
                </a:ext>
              </a:extLst>
            </p:cNvPr>
            <p:cNvGrpSpPr>
              <a:grpSpLocks noChangeAspect="1"/>
            </p:cNvGrpSpPr>
            <p:nvPr/>
          </p:nvGrpSpPr>
          <p:grpSpPr>
            <a:xfrm>
              <a:off x="631150" y="4425617"/>
              <a:ext cx="180000" cy="180000"/>
              <a:chOff x="2703390" y="3158472"/>
              <a:chExt cx="960114" cy="960114"/>
            </a:xfrm>
          </p:grpSpPr>
          <p:sp>
            <p:nvSpPr>
              <p:cNvPr id="120" name="Ellipse 125">
                <a:extLst>
                  <a:ext uri="{FF2B5EF4-FFF2-40B4-BE49-F238E27FC236}">
                    <a16:creationId xmlns:a16="http://schemas.microsoft.com/office/drawing/2014/main" id="{46B73F5C-64CC-4C77-A19A-DA83AABA06D2}"/>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1" name="Group 4">
                <a:extLst>
                  <a:ext uri="{FF2B5EF4-FFF2-40B4-BE49-F238E27FC236}">
                    <a16:creationId xmlns:a16="http://schemas.microsoft.com/office/drawing/2014/main" id="{1A7BB1E3-81AD-44A1-B561-56E4BBC312CB}"/>
                  </a:ext>
                </a:extLst>
              </p:cNvPr>
              <p:cNvGrpSpPr>
                <a:grpSpLocks noChangeAspect="1"/>
              </p:cNvGrpSpPr>
              <p:nvPr/>
            </p:nvGrpSpPr>
            <p:grpSpPr bwMode="auto">
              <a:xfrm>
                <a:off x="2912386" y="3366720"/>
                <a:ext cx="542122" cy="543618"/>
                <a:chOff x="2638" y="958"/>
                <a:chExt cx="1087" cy="1090"/>
              </a:xfrm>
              <a:noFill/>
            </p:grpSpPr>
            <p:sp>
              <p:nvSpPr>
                <p:cNvPr id="122" name="Freeform 5">
                  <a:extLst>
                    <a:ext uri="{FF2B5EF4-FFF2-40B4-BE49-F238E27FC236}">
                      <a16:creationId xmlns:a16="http://schemas.microsoft.com/office/drawing/2014/main" id="{29DC8E66-4A58-4646-8894-9325D9171B26}"/>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 name="Freeform 6">
                  <a:extLst>
                    <a:ext uri="{FF2B5EF4-FFF2-40B4-BE49-F238E27FC236}">
                      <a16:creationId xmlns:a16="http://schemas.microsoft.com/office/drawing/2014/main" id="{A030FD74-6444-4B03-A286-94B54756460D}"/>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4" name="Freeform 7">
                  <a:extLst>
                    <a:ext uri="{FF2B5EF4-FFF2-40B4-BE49-F238E27FC236}">
                      <a16:creationId xmlns:a16="http://schemas.microsoft.com/office/drawing/2014/main" id="{E2E8DCD2-0E64-4E9E-9521-55486B06D704}"/>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94" name="IconEmail">
              <a:extLst>
                <a:ext uri="{FF2B5EF4-FFF2-40B4-BE49-F238E27FC236}">
                  <a16:creationId xmlns:a16="http://schemas.microsoft.com/office/drawing/2014/main" id="{55126D8F-201E-490F-956C-814D5F1B04C5}"/>
                </a:ext>
              </a:extLst>
            </p:cNvPr>
            <p:cNvGrpSpPr>
              <a:grpSpLocks noChangeAspect="1"/>
            </p:cNvGrpSpPr>
            <p:nvPr/>
          </p:nvGrpSpPr>
          <p:grpSpPr>
            <a:xfrm>
              <a:off x="631150" y="4162565"/>
              <a:ext cx="180000" cy="180000"/>
              <a:chOff x="2703390" y="4365085"/>
              <a:chExt cx="960114" cy="960114"/>
            </a:xfrm>
          </p:grpSpPr>
          <p:sp>
            <p:nvSpPr>
              <p:cNvPr id="95" name="Ellipse 125">
                <a:extLst>
                  <a:ext uri="{FF2B5EF4-FFF2-40B4-BE49-F238E27FC236}">
                    <a16:creationId xmlns:a16="http://schemas.microsoft.com/office/drawing/2014/main" id="{788EBCF2-F0AF-4E52-877C-2E01596F4903}"/>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6" name="Group 95">
                <a:extLst>
                  <a:ext uri="{FF2B5EF4-FFF2-40B4-BE49-F238E27FC236}">
                    <a16:creationId xmlns:a16="http://schemas.microsoft.com/office/drawing/2014/main" id="{F8486C9E-E4A7-4DC0-8B3A-99B29683F845}"/>
                  </a:ext>
                </a:extLst>
              </p:cNvPr>
              <p:cNvGrpSpPr>
                <a:grpSpLocks noChangeAspect="1"/>
              </p:cNvGrpSpPr>
              <p:nvPr/>
            </p:nvGrpSpPr>
            <p:grpSpPr>
              <a:xfrm>
                <a:off x="2886170" y="4635603"/>
                <a:ext cx="594554" cy="419078"/>
                <a:chOff x="4562584" y="4650255"/>
                <a:chExt cx="457200" cy="322263"/>
              </a:xfrm>
            </p:grpSpPr>
            <p:sp>
              <p:nvSpPr>
                <p:cNvPr id="97" name="Line 20">
                  <a:extLst>
                    <a:ext uri="{FF2B5EF4-FFF2-40B4-BE49-F238E27FC236}">
                      <a16:creationId xmlns:a16="http://schemas.microsoft.com/office/drawing/2014/main" id="{F23299BA-0701-40FC-8A23-99A6B3C145B7}"/>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21">
                  <a:extLst>
                    <a:ext uri="{FF2B5EF4-FFF2-40B4-BE49-F238E27FC236}">
                      <a16:creationId xmlns:a16="http://schemas.microsoft.com/office/drawing/2014/main" id="{ECB7160E-97F3-4FAB-A9E6-E1DAC69EFD5B}"/>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22">
                  <a:extLst>
                    <a:ext uri="{FF2B5EF4-FFF2-40B4-BE49-F238E27FC236}">
                      <a16:creationId xmlns:a16="http://schemas.microsoft.com/office/drawing/2014/main" id="{CC42A356-62B5-4F4F-9D52-23A94DE03653}"/>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9" name="Line 23">
                  <a:extLst>
                    <a:ext uri="{FF2B5EF4-FFF2-40B4-BE49-F238E27FC236}">
                      <a16:creationId xmlns:a16="http://schemas.microsoft.com/office/drawing/2014/main" id="{364545FE-E6FC-41B4-B975-9B1F3E01C752}"/>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25" name="strPhone02">
            <a:extLst>
              <a:ext uri="{FF2B5EF4-FFF2-40B4-BE49-F238E27FC236}">
                <a16:creationId xmlns:a16="http://schemas.microsoft.com/office/drawing/2014/main" id="{5414B8D4-BCF6-40B6-B3C8-C9134D491D28}"/>
              </a:ext>
            </a:extLst>
          </p:cNvPr>
          <p:cNvSpPr>
            <a:spLocks noGrp="1"/>
          </p:cNvSpPr>
          <p:nvPr>
            <p:ph type="body" sz="quarter" idx="26" hasCustomPrompt="1"/>
          </p:nvPr>
        </p:nvSpPr>
        <p:spPr>
          <a:xfrm>
            <a:off x="5536979" y="3808869"/>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126" name="strEmail02">
            <a:extLst>
              <a:ext uri="{FF2B5EF4-FFF2-40B4-BE49-F238E27FC236}">
                <a16:creationId xmlns:a16="http://schemas.microsoft.com/office/drawing/2014/main" id="{29E66FDC-4CB3-42C1-92A4-8864A54C4390}"/>
              </a:ext>
            </a:extLst>
          </p:cNvPr>
          <p:cNvSpPr>
            <a:spLocks noGrp="1"/>
          </p:cNvSpPr>
          <p:nvPr>
            <p:ph type="body" sz="quarter" idx="27" hasCustomPrompt="1"/>
          </p:nvPr>
        </p:nvSpPr>
        <p:spPr>
          <a:xfrm>
            <a:off x="5536979" y="3551088"/>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127" name="strFunction02">
            <a:extLst>
              <a:ext uri="{FF2B5EF4-FFF2-40B4-BE49-F238E27FC236}">
                <a16:creationId xmlns:a16="http://schemas.microsoft.com/office/drawing/2014/main" id="{C501075B-B9C3-4ABD-AE6E-796D7E8EECCB}"/>
              </a:ext>
            </a:extLst>
          </p:cNvPr>
          <p:cNvSpPr>
            <a:spLocks noGrp="1"/>
          </p:cNvSpPr>
          <p:nvPr>
            <p:ph type="body" sz="quarter" idx="28" hasCustomPrompt="1"/>
          </p:nvPr>
        </p:nvSpPr>
        <p:spPr>
          <a:xfrm>
            <a:off x="5267422" y="3106962"/>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128" name="strName02">
            <a:extLst>
              <a:ext uri="{FF2B5EF4-FFF2-40B4-BE49-F238E27FC236}">
                <a16:creationId xmlns:a16="http://schemas.microsoft.com/office/drawing/2014/main" id="{B9974B91-433C-4F72-9831-9FCB1EB4819F}"/>
              </a:ext>
            </a:extLst>
          </p:cNvPr>
          <p:cNvSpPr>
            <a:spLocks noGrp="1"/>
          </p:cNvSpPr>
          <p:nvPr>
            <p:ph type="body" sz="quarter" idx="29" hasCustomPrompt="1"/>
          </p:nvPr>
        </p:nvSpPr>
        <p:spPr>
          <a:xfrm>
            <a:off x="5267422" y="2867022"/>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grpSp>
        <p:nvGrpSpPr>
          <p:cNvPr id="72" name="Icons01">
            <a:extLst>
              <a:ext uri="{FF2B5EF4-FFF2-40B4-BE49-F238E27FC236}">
                <a16:creationId xmlns:a16="http://schemas.microsoft.com/office/drawing/2014/main" id="{8A0F3568-B33E-4AB7-B2D2-F8FFA1E6354B}"/>
              </a:ext>
            </a:extLst>
          </p:cNvPr>
          <p:cNvGrpSpPr/>
          <p:nvPr userDrawn="1"/>
        </p:nvGrpSpPr>
        <p:grpSpPr>
          <a:xfrm>
            <a:off x="631150" y="3434914"/>
            <a:ext cx="464690" cy="562031"/>
            <a:chOff x="631150" y="4043586"/>
            <a:chExt cx="464690" cy="562031"/>
          </a:xfrm>
        </p:grpSpPr>
        <p:cxnSp>
          <p:nvCxnSpPr>
            <p:cNvPr id="73" name="Hline">
              <a:extLst>
                <a:ext uri="{FF2B5EF4-FFF2-40B4-BE49-F238E27FC236}">
                  <a16:creationId xmlns:a16="http://schemas.microsoft.com/office/drawing/2014/main" id="{42FACEC7-2DCA-4A8C-9A75-2787CC631AF2}"/>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IconPhone">
              <a:extLst>
                <a:ext uri="{FF2B5EF4-FFF2-40B4-BE49-F238E27FC236}">
                  <a16:creationId xmlns:a16="http://schemas.microsoft.com/office/drawing/2014/main" id="{A18F2019-899E-4BE7-80ED-6763FD08FBD4}"/>
                </a:ext>
              </a:extLst>
            </p:cNvPr>
            <p:cNvGrpSpPr>
              <a:grpSpLocks noChangeAspect="1"/>
            </p:cNvGrpSpPr>
            <p:nvPr/>
          </p:nvGrpSpPr>
          <p:grpSpPr>
            <a:xfrm>
              <a:off x="631150" y="4425617"/>
              <a:ext cx="180000" cy="180000"/>
              <a:chOff x="2703390" y="3158472"/>
              <a:chExt cx="960114" cy="960114"/>
            </a:xfrm>
          </p:grpSpPr>
          <p:sp>
            <p:nvSpPr>
              <p:cNvPr id="82" name="Ellipse 125">
                <a:extLst>
                  <a:ext uri="{FF2B5EF4-FFF2-40B4-BE49-F238E27FC236}">
                    <a16:creationId xmlns:a16="http://schemas.microsoft.com/office/drawing/2014/main" id="{54094797-3ED7-4CB2-A842-069A044339E6}"/>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83" name="Group 4">
                <a:extLst>
                  <a:ext uri="{FF2B5EF4-FFF2-40B4-BE49-F238E27FC236}">
                    <a16:creationId xmlns:a16="http://schemas.microsoft.com/office/drawing/2014/main" id="{AC9BA8FF-35F1-4AC1-A9AB-D66AB5107C6A}"/>
                  </a:ext>
                </a:extLst>
              </p:cNvPr>
              <p:cNvGrpSpPr>
                <a:grpSpLocks noChangeAspect="1"/>
              </p:cNvGrpSpPr>
              <p:nvPr/>
            </p:nvGrpSpPr>
            <p:grpSpPr bwMode="auto">
              <a:xfrm>
                <a:off x="2912386" y="3366720"/>
                <a:ext cx="542122" cy="543618"/>
                <a:chOff x="2638" y="958"/>
                <a:chExt cx="1087" cy="1090"/>
              </a:xfrm>
              <a:noFill/>
            </p:grpSpPr>
            <p:sp>
              <p:nvSpPr>
                <p:cNvPr id="84" name="Freeform 5">
                  <a:extLst>
                    <a:ext uri="{FF2B5EF4-FFF2-40B4-BE49-F238E27FC236}">
                      <a16:creationId xmlns:a16="http://schemas.microsoft.com/office/drawing/2014/main" id="{DC05699D-04B5-4051-A4F3-3933E6DAA1B7}"/>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5" name="Freeform 6">
                  <a:extLst>
                    <a:ext uri="{FF2B5EF4-FFF2-40B4-BE49-F238E27FC236}">
                      <a16:creationId xmlns:a16="http://schemas.microsoft.com/office/drawing/2014/main" id="{84DFB0A7-6AB0-4C80-98BC-4A905E218EB2}"/>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6" name="Freeform 7">
                  <a:extLst>
                    <a:ext uri="{FF2B5EF4-FFF2-40B4-BE49-F238E27FC236}">
                      <a16:creationId xmlns:a16="http://schemas.microsoft.com/office/drawing/2014/main" id="{CBA2FB83-1315-449A-AC8B-C21E87C4166C}"/>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75" name="IconEmail">
              <a:extLst>
                <a:ext uri="{FF2B5EF4-FFF2-40B4-BE49-F238E27FC236}">
                  <a16:creationId xmlns:a16="http://schemas.microsoft.com/office/drawing/2014/main" id="{C68E7CFF-20C3-4344-82D2-7C8DFC307723}"/>
                </a:ext>
              </a:extLst>
            </p:cNvPr>
            <p:cNvGrpSpPr>
              <a:grpSpLocks noChangeAspect="1"/>
            </p:cNvGrpSpPr>
            <p:nvPr/>
          </p:nvGrpSpPr>
          <p:grpSpPr>
            <a:xfrm>
              <a:off x="631150" y="4162565"/>
              <a:ext cx="180000" cy="180000"/>
              <a:chOff x="2703390" y="4365085"/>
              <a:chExt cx="960114" cy="960114"/>
            </a:xfrm>
          </p:grpSpPr>
          <p:sp>
            <p:nvSpPr>
              <p:cNvPr id="76" name="Ellipse 125">
                <a:extLst>
                  <a:ext uri="{FF2B5EF4-FFF2-40B4-BE49-F238E27FC236}">
                    <a16:creationId xmlns:a16="http://schemas.microsoft.com/office/drawing/2014/main" id="{A711CEBD-01A8-4469-809D-448B4EDC1619}"/>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77" name="Group 76">
                <a:extLst>
                  <a:ext uri="{FF2B5EF4-FFF2-40B4-BE49-F238E27FC236}">
                    <a16:creationId xmlns:a16="http://schemas.microsoft.com/office/drawing/2014/main" id="{559C101B-6E9B-4B39-95A4-4ED0AB92B284}"/>
                  </a:ext>
                </a:extLst>
              </p:cNvPr>
              <p:cNvGrpSpPr>
                <a:grpSpLocks noChangeAspect="1"/>
              </p:cNvGrpSpPr>
              <p:nvPr/>
            </p:nvGrpSpPr>
            <p:grpSpPr>
              <a:xfrm>
                <a:off x="2886170" y="4635603"/>
                <a:ext cx="594554" cy="419078"/>
                <a:chOff x="4562584" y="4650255"/>
                <a:chExt cx="457200" cy="322263"/>
              </a:xfrm>
            </p:grpSpPr>
            <p:sp>
              <p:nvSpPr>
                <p:cNvPr id="78" name="Line 20">
                  <a:extLst>
                    <a:ext uri="{FF2B5EF4-FFF2-40B4-BE49-F238E27FC236}">
                      <a16:creationId xmlns:a16="http://schemas.microsoft.com/office/drawing/2014/main" id="{C3A11E7E-DB0C-460A-BF79-805917BE8F5B}"/>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1">
                  <a:extLst>
                    <a:ext uri="{FF2B5EF4-FFF2-40B4-BE49-F238E27FC236}">
                      <a16:creationId xmlns:a16="http://schemas.microsoft.com/office/drawing/2014/main" id="{93AE8609-E5BB-4218-AEBF-5BB4A4574B73}"/>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2">
                  <a:extLst>
                    <a:ext uri="{FF2B5EF4-FFF2-40B4-BE49-F238E27FC236}">
                      <a16:creationId xmlns:a16="http://schemas.microsoft.com/office/drawing/2014/main" id="{BD6EA324-EE69-4BAD-AEA3-20062BFD7646}"/>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 name="Line 23">
                  <a:extLst>
                    <a:ext uri="{FF2B5EF4-FFF2-40B4-BE49-F238E27FC236}">
                      <a16:creationId xmlns:a16="http://schemas.microsoft.com/office/drawing/2014/main" id="{DA1DD74B-6D27-417D-8514-C4E5D3D69A2B}"/>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87" name="strPhone01">
            <a:extLst>
              <a:ext uri="{FF2B5EF4-FFF2-40B4-BE49-F238E27FC236}">
                <a16:creationId xmlns:a16="http://schemas.microsoft.com/office/drawing/2014/main" id="{37EC606E-18B9-40F3-8C86-ADD0FC2B3FCF}"/>
              </a:ext>
            </a:extLst>
          </p:cNvPr>
          <p:cNvSpPr>
            <a:spLocks noGrp="1"/>
          </p:cNvSpPr>
          <p:nvPr>
            <p:ph type="body" sz="quarter" idx="12" hasCustomPrompt="1"/>
          </p:nvPr>
        </p:nvSpPr>
        <p:spPr>
          <a:xfrm>
            <a:off x="900707" y="3808869"/>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88" name="strEmail01">
            <a:extLst>
              <a:ext uri="{FF2B5EF4-FFF2-40B4-BE49-F238E27FC236}">
                <a16:creationId xmlns:a16="http://schemas.microsoft.com/office/drawing/2014/main" id="{A0500F8C-76F6-4B82-9BB9-85B1E7E418B1}"/>
              </a:ext>
            </a:extLst>
          </p:cNvPr>
          <p:cNvSpPr>
            <a:spLocks noGrp="1"/>
          </p:cNvSpPr>
          <p:nvPr>
            <p:ph type="body" sz="quarter" idx="13" hasCustomPrompt="1"/>
          </p:nvPr>
        </p:nvSpPr>
        <p:spPr>
          <a:xfrm>
            <a:off x="900707" y="3551088"/>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89" name="strFunction01">
            <a:extLst>
              <a:ext uri="{FF2B5EF4-FFF2-40B4-BE49-F238E27FC236}">
                <a16:creationId xmlns:a16="http://schemas.microsoft.com/office/drawing/2014/main" id="{D3536E06-792C-4C44-AB98-6CE5B5AA4138}"/>
              </a:ext>
            </a:extLst>
          </p:cNvPr>
          <p:cNvSpPr>
            <a:spLocks noGrp="1"/>
          </p:cNvSpPr>
          <p:nvPr>
            <p:ph type="body" sz="quarter" idx="11" hasCustomPrompt="1"/>
          </p:nvPr>
        </p:nvSpPr>
        <p:spPr>
          <a:xfrm>
            <a:off x="631150" y="3106962"/>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90" name="strName01">
            <a:extLst>
              <a:ext uri="{FF2B5EF4-FFF2-40B4-BE49-F238E27FC236}">
                <a16:creationId xmlns:a16="http://schemas.microsoft.com/office/drawing/2014/main" id="{DF103A4B-5191-4B3D-982C-72CFBAB89CD2}"/>
              </a:ext>
            </a:extLst>
          </p:cNvPr>
          <p:cNvSpPr>
            <a:spLocks noGrp="1"/>
          </p:cNvSpPr>
          <p:nvPr>
            <p:ph type="body" sz="quarter" idx="10" hasCustomPrompt="1"/>
          </p:nvPr>
        </p:nvSpPr>
        <p:spPr>
          <a:xfrm>
            <a:off x="631150" y="2867022"/>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630574720"/>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4)">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138" name="Angled stripes">
            <a:extLst>
              <a:ext uri="{FF2B5EF4-FFF2-40B4-BE49-F238E27FC236}">
                <a16:creationId xmlns:a16="http://schemas.microsoft.com/office/drawing/2014/main" id="{7439B137-4B0F-48A6-A47B-F73316486CB1}"/>
              </a:ext>
            </a:extLst>
          </p:cNvPr>
          <p:cNvGrpSpPr/>
          <p:nvPr userDrawn="1"/>
        </p:nvGrpSpPr>
        <p:grpSpPr>
          <a:xfrm>
            <a:off x="2101012" y="2821242"/>
            <a:ext cx="11833943" cy="1855206"/>
            <a:chOff x="2101012" y="2821242"/>
            <a:chExt cx="11833943" cy="1855206"/>
          </a:xfrm>
        </p:grpSpPr>
        <p:sp>
          <p:nvSpPr>
            <p:cNvPr id="139" name="Angled stripe 1">
              <a:extLst>
                <a:ext uri="{FF2B5EF4-FFF2-40B4-BE49-F238E27FC236}">
                  <a16:creationId xmlns:a16="http://schemas.microsoft.com/office/drawing/2014/main" id="{5FCC569E-A5EF-403E-9F3F-D4BAEF09FC7C}"/>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Angled stripe 2">
              <a:extLst>
                <a:ext uri="{FF2B5EF4-FFF2-40B4-BE49-F238E27FC236}">
                  <a16:creationId xmlns:a16="http://schemas.microsoft.com/office/drawing/2014/main" id="{6A6BD387-A349-42F4-AF27-DD2728F4A91A}"/>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1" name="GameChangers">
            <a:extLst>
              <a:ext uri="{FF2B5EF4-FFF2-40B4-BE49-F238E27FC236}">
                <a16:creationId xmlns:a16="http://schemas.microsoft.com/office/drawing/2014/main" id="{DDDD4BDF-ADE4-4FFF-A8F8-5E8314248DEA}"/>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42" name="IpsosLogo">
            <a:extLst>
              <a:ext uri="{FF2B5EF4-FFF2-40B4-BE49-F238E27FC236}">
                <a16:creationId xmlns:a16="http://schemas.microsoft.com/office/drawing/2014/main" id="{1DB47704-D745-431D-A16C-802163D0876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5" name="Ipsos Copyright">
            <a:extLst>
              <a:ext uri="{FF2B5EF4-FFF2-40B4-BE49-F238E27FC236}">
                <a16:creationId xmlns:a16="http://schemas.microsoft.com/office/drawing/2014/main" id="{F93510CD-33D1-4CD5-B595-D271C60E587A}"/>
              </a:ext>
            </a:extLst>
          </p:cNvPr>
          <p:cNvSpPr txBox="1"/>
          <p:nvPr userDrawn="1"/>
        </p:nvSpPr>
        <p:spPr>
          <a:xfrm>
            <a:off x="7000150" y="6368649"/>
            <a:ext cx="4593853" cy="276999"/>
          </a:xfrm>
          <a:prstGeom prst="rect">
            <a:avLst/>
          </a:prstGeom>
        </p:spPr>
        <p:txBody>
          <a:bodyPr vert="horz" wrap="square" lIns="0" tIns="0" rIns="0" bIns="0" rtlCol="0">
            <a:spAutoFit/>
          </a:bodyPr>
          <a:lstStyle/>
          <a:p>
            <a:pPr algn="r"/>
            <a:r>
              <a:rPr lang="en-US" sz="900" dirty="0">
                <a:solidFill>
                  <a:schemeClr val="bg1"/>
                </a:solidFill>
              </a:rPr>
              <a:t>© 2020 Ipsos. All rights reserved. Contains Ipsos' Confidential and Proprietary information and may not be disclosed or reproduced without the prior written consent of Ipsos.</a:t>
            </a:r>
          </a:p>
        </p:txBody>
      </p:sp>
      <p:sp>
        <p:nvSpPr>
          <p:cNvPr id="143" name="Thank">
            <a:extLst>
              <a:ext uri="{FF2B5EF4-FFF2-40B4-BE49-F238E27FC236}">
                <a16:creationId xmlns:a16="http://schemas.microsoft.com/office/drawing/2014/main" id="{1A3A6828-A207-47ED-B01B-C61279E8A409}"/>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44" name="You">
            <a:extLst>
              <a:ext uri="{FF2B5EF4-FFF2-40B4-BE49-F238E27FC236}">
                <a16:creationId xmlns:a16="http://schemas.microsoft.com/office/drawing/2014/main" id="{0BA29790-54EF-4F09-9996-A8A16E559564}"/>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202" name="Icons04">
            <a:extLst>
              <a:ext uri="{FF2B5EF4-FFF2-40B4-BE49-F238E27FC236}">
                <a16:creationId xmlns:a16="http://schemas.microsoft.com/office/drawing/2014/main" id="{E4FCDA43-2282-4A8F-A7FE-FAAEC5C0B33D}"/>
              </a:ext>
            </a:extLst>
          </p:cNvPr>
          <p:cNvGrpSpPr/>
          <p:nvPr userDrawn="1"/>
        </p:nvGrpSpPr>
        <p:grpSpPr>
          <a:xfrm>
            <a:off x="5267422" y="4875303"/>
            <a:ext cx="464690" cy="562031"/>
            <a:chOff x="631150" y="4043586"/>
            <a:chExt cx="464690" cy="562031"/>
          </a:xfrm>
        </p:grpSpPr>
        <p:cxnSp>
          <p:nvCxnSpPr>
            <p:cNvPr id="203" name="Hline">
              <a:extLst>
                <a:ext uri="{FF2B5EF4-FFF2-40B4-BE49-F238E27FC236}">
                  <a16:creationId xmlns:a16="http://schemas.microsoft.com/office/drawing/2014/main" id="{3611D117-49D9-4843-A11C-F3A3F18E82F9}"/>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4" name="IconPhone">
              <a:extLst>
                <a:ext uri="{FF2B5EF4-FFF2-40B4-BE49-F238E27FC236}">
                  <a16:creationId xmlns:a16="http://schemas.microsoft.com/office/drawing/2014/main" id="{501137B8-7E91-49D5-826A-B2654A476575}"/>
                </a:ext>
              </a:extLst>
            </p:cNvPr>
            <p:cNvGrpSpPr>
              <a:grpSpLocks noChangeAspect="1"/>
            </p:cNvGrpSpPr>
            <p:nvPr/>
          </p:nvGrpSpPr>
          <p:grpSpPr>
            <a:xfrm>
              <a:off x="631150" y="4425617"/>
              <a:ext cx="180000" cy="180000"/>
              <a:chOff x="2703390" y="3158472"/>
              <a:chExt cx="960114" cy="960114"/>
            </a:xfrm>
          </p:grpSpPr>
          <p:sp>
            <p:nvSpPr>
              <p:cNvPr id="212" name="Ellipse 125">
                <a:extLst>
                  <a:ext uri="{FF2B5EF4-FFF2-40B4-BE49-F238E27FC236}">
                    <a16:creationId xmlns:a16="http://schemas.microsoft.com/office/drawing/2014/main" id="{3B8A5292-316D-44AF-9FC2-85637FD9291F}"/>
                  </a:ext>
                </a:extLst>
              </p:cNvPr>
              <p:cNvSpPr/>
              <p:nvPr/>
            </p:nvSpPr>
            <p:spPr>
              <a:xfrm>
                <a:off x="2703390" y="3158472"/>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13" name="Group 4">
                <a:extLst>
                  <a:ext uri="{FF2B5EF4-FFF2-40B4-BE49-F238E27FC236}">
                    <a16:creationId xmlns:a16="http://schemas.microsoft.com/office/drawing/2014/main" id="{AEFFA674-A388-4E20-9B1F-BF88AE876176}"/>
                  </a:ext>
                </a:extLst>
              </p:cNvPr>
              <p:cNvGrpSpPr>
                <a:grpSpLocks noChangeAspect="1"/>
              </p:cNvGrpSpPr>
              <p:nvPr/>
            </p:nvGrpSpPr>
            <p:grpSpPr bwMode="auto">
              <a:xfrm>
                <a:off x="2912386" y="3366720"/>
                <a:ext cx="542122" cy="543618"/>
                <a:chOff x="2638" y="958"/>
                <a:chExt cx="1087" cy="1090"/>
              </a:xfrm>
              <a:noFill/>
            </p:grpSpPr>
            <p:sp>
              <p:nvSpPr>
                <p:cNvPr id="214" name="Freeform 5">
                  <a:extLst>
                    <a:ext uri="{FF2B5EF4-FFF2-40B4-BE49-F238E27FC236}">
                      <a16:creationId xmlns:a16="http://schemas.microsoft.com/office/drawing/2014/main" id="{FEBC34DB-113D-43A7-8C06-22C12B7C88E7}"/>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5" name="Freeform 6">
                  <a:extLst>
                    <a:ext uri="{FF2B5EF4-FFF2-40B4-BE49-F238E27FC236}">
                      <a16:creationId xmlns:a16="http://schemas.microsoft.com/office/drawing/2014/main" id="{796E2262-33A9-40F4-9E81-022677F13D44}"/>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6" name="Freeform 7">
                  <a:extLst>
                    <a:ext uri="{FF2B5EF4-FFF2-40B4-BE49-F238E27FC236}">
                      <a16:creationId xmlns:a16="http://schemas.microsoft.com/office/drawing/2014/main" id="{A6AF8913-8B91-47AD-8F2A-1D02E467A76E}"/>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05" name="IconEmail">
              <a:extLst>
                <a:ext uri="{FF2B5EF4-FFF2-40B4-BE49-F238E27FC236}">
                  <a16:creationId xmlns:a16="http://schemas.microsoft.com/office/drawing/2014/main" id="{BD1FAC7E-C760-494E-AAE7-71E43DE6F31E}"/>
                </a:ext>
              </a:extLst>
            </p:cNvPr>
            <p:cNvGrpSpPr>
              <a:grpSpLocks noChangeAspect="1"/>
            </p:cNvGrpSpPr>
            <p:nvPr/>
          </p:nvGrpSpPr>
          <p:grpSpPr>
            <a:xfrm>
              <a:off x="631150" y="4162565"/>
              <a:ext cx="180000" cy="180000"/>
              <a:chOff x="2703390" y="4365085"/>
              <a:chExt cx="960114" cy="960114"/>
            </a:xfrm>
          </p:grpSpPr>
          <p:sp>
            <p:nvSpPr>
              <p:cNvPr id="206" name="Ellipse 125">
                <a:extLst>
                  <a:ext uri="{FF2B5EF4-FFF2-40B4-BE49-F238E27FC236}">
                    <a16:creationId xmlns:a16="http://schemas.microsoft.com/office/drawing/2014/main" id="{4A4FCD1B-0193-4D75-8698-F3279E0CF24A}"/>
                  </a:ext>
                </a:extLst>
              </p:cNvPr>
              <p:cNvSpPr/>
              <p:nvPr/>
            </p:nvSpPr>
            <p:spPr>
              <a:xfrm>
                <a:off x="2703390" y="4365085"/>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07" name="Group 206">
                <a:extLst>
                  <a:ext uri="{FF2B5EF4-FFF2-40B4-BE49-F238E27FC236}">
                    <a16:creationId xmlns:a16="http://schemas.microsoft.com/office/drawing/2014/main" id="{25BFD7AB-B859-4313-9D34-82465D7FB512}"/>
                  </a:ext>
                </a:extLst>
              </p:cNvPr>
              <p:cNvGrpSpPr>
                <a:grpSpLocks noChangeAspect="1"/>
              </p:cNvGrpSpPr>
              <p:nvPr/>
            </p:nvGrpSpPr>
            <p:grpSpPr>
              <a:xfrm>
                <a:off x="2886170" y="4635603"/>
                <a:ext cx="594554" cy="419078"/>
                <a:chOff x="4562584" y="4650255"/>
                <a:chExt cx="457200" cy="322263"/>
              </a:xfrm>
            </p:grpSpPr>
            <p:sp>
              <p:nvSpPr>
                <p:cNvPr id="208" name="Line 20">
                  <a:extLst>
                    <a:ext uri="{FF2B5EF4-FFF2-40B4-BE49-F238E27FC236}">
                      <a16:creationId xmlns:a16="http://schemas.microsoft.com/office/drawing/2014/main" id="{50DDE18F-EE4B-493E-81D2-9247309F24EC}"/>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9" name="Freeform 21">
                  <a:extLst>
                    <a:ext uri="{FF2B5EF4-FFF2-40B4-BE49-F238E27FC236}">
                      <a16:creationId xmlns:a16="http://schemas.microsoft.com/office/drawing/2014/main" id="{9815CE9F-52D2-4364-9343-8E9D5781A6A4}"/>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22">
                  <a:extLst>
                    <a:ext uri="{FF2B5EF4-FFF2-40B4-BE49-F238E27FC236}">
                      <a16:creationId xmlns:a16="http://schemas.microsoft.com/office/drawing/2014/main" id="{970254B2-4B4B-4668-9075-98479A738CE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1" name="Line 23">
                  <a:extLst>
                    <a:ext uri="{FF2B5EF4-FFF2-40B4-BE49-F238E27FC236}">
                      <a16:creationId xmlns:a16="http://schemas.microsoft.com/office/drawing/2014/main" id="{3A201282-6849-4481-976D-5E3027653C09}"/>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217" name="strPhone04">
            <a:extLst>
              <a:ext uri="{FF2B5EF4-FFF2-40B4-BE49-F238E27FC236}">
                <a16:creationId xmlns:a16="http://schemas.microsoft.com/office/drawing/2014/main" id="{A70F63FA-0A47-4E91-A38F-7987208E95FB}"/>
              </a:ext>
            </a:extLst>
          </p:cNvPr>
          <p:cNvSpPr>
            <a:spLocks noGrp="1"/>
          </p:cNvSpPr>
          <p:nvPr>
            <p:ph type="body" sz="quarter" idx="34" hasCustomPrompt="1"/>
          </p:nvPr>
        </p:nvSpPr>
        <p:spPr>
          <a:xfrm>
            <a:off x="5536979"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218" name="strEmail04">
            <a:extLst>
              <a:ext uri="{FF2B5EF4-FFF2-40B4-BE49-F238E27FC236}">
                <a16:creationId xmlns:a16="http://schemas.microsoft.com/office/drawing/2014/main" id="{9784B1A9-0EF5-43DA-99E1-0CAA5C2DDF0A}"/>
              </a:ext>
            </a:extLst>
          </p:cNvPr>
          <p:cNvSpPr>
            <a:spLocks noGrp="1"/>
          </p:cNvSpPr>
          <p:nvPr>
            <p:ph type="body" sz="quarter" idx="35" hasCustomPrompt="1"/>
          </p:nvPr>
        </p:nvSpPr>
        <p:spPr>
          <a:xfrm>
            <a:off x="5536979"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219" name="strFunction04">
            <a:extLst>
              <a:ext uri="{FF2B5EF4-FFF2-40B4-BE49-F238E27FC236}">
                <a16:creationId xmlns:a16="http://schemas.microsoft.com/office/drawing/2014/main" id="{E0298BA4-9CDC-4684-9CB9-4726376419CD}"/>
              </a:ext>
            </a:extLst>
          </p:cNvPr>
          <p:cNvSpPr>
            <a:spLocks noGrp="1"/>
          </p:cNvSpPr>
          <p:nvPr>
            <p:ph type="body" sz="quarter" idx="36" hasCustomPrompt="1"/>
          </p:nvPr>
        </p:nvSpPr>
        <p:spPr>
          <a:xfrm>
            <a:off x="5267422"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220" name="strName04">
            <a:extLst>
              <a:ext uri="{FF2B5EF4-FFF2-40B4-BE49-F238E27FC236}">
                <a16:creationId xmlns:a16="http://schemas.microsoft.com/office/drawing/2014/main" id="{E7982998-4C09-40B0-963F-43910CA3A33C}"/>
              </a:ext>
            </a:extLst>
          </p:cNvPr>
          <p:cNvSpPr>
            <a:spLocks noGrp="1"/>
          </p:cNvSpPr>
          <p:nvPr>
            <p:ph type="body" sz="quarter" idx="37" hasCustomPrompt="1"/>
          </p:nvPr>
        </p:nvSpPr>
        <p:spPr>
          <a:xfrm>
            <a:off x="5267422" y="4307411"/>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grpSp>
        <p:nvGrpSpPr>
          <p:cNvPr id="145" name="Icons03">
            <a:extLst>
              <a:ext uri="{FF2B5EF4-FFF2-40B4-BE49-F238E27FC236}">
                <a16:creationId xmlns:a16="http://schemas.microsoft.com/office/drawing/2014/main" id="{29187A81-AC58-49E9-897F-20AB4C1E88D8}"/>
              </a:ext>
            </a:extLst>
          </p:cNvPr>
          <p:cNvGrpSpPr/>
          <p:nvPr userDrawn="1"/>
        </p:nvGrpSpPr>
        <p:grpSpPr>
          <a:xfrm>
            <a:off x="631150" y="4875303"/>
            <a:ext cx="464690" cy="562031"/>
            <a:chOff x="631150" y="4043586"/>
            <a:chExt cx="464690" cy="562031"/>
          </a:xfrm>
        </p:grpSpPr>
        <p:cxnSp>
          <p:nvCxnSpPr>
            <p:cNvPr id="146" name="Hline">
              <a:extLst>
                <a:ext uri="{FF2B5EF4-FFF2-40B4-BE49-F238E27FC236}">
                  <a16:creationId xmlns:a16="http://schemas.microsoft.com/office/drawing/2014/main" id="{7B5BE796-BE3A-48EE-87B2-1BBBDEB9265A}"/>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7" name="IconPhone">
              <a:extLst>
                <a:ext uri="{FF2B5EF4-FFF2-40B4-BE49-F238E27FC236}">
                  <a16:creationId xmlns:a16="http://schemas.microsoft.com/office/drawing/2014/main" id="{F28BB052-5668-4C0C-A26A-9C9207A4945F}"/>
                </a:ext>
              </a:extLst>
            </p:cNvPr>
            <p:cNvGrpSpPr>
              <a:grpSpLocks noChangeAspect="1"/>
            </p:cNvGrpSpPr>
            <p:nvPr/>
          </p:nvGrpSpPr>
          <p:grpSpPr>
            <a:xfrm>
              <a:off x="631150" y="4425617"/>
              <a:ext cx="180000" cy="180000"/>
              <a:chOff x="2703390" y="3158472"/>
              <a:chExt cx="960114" cy="960114"/>
            </a:xfrm>
          </p:grpSpPr>
          <p:sp>
            <p:nvSpPr>
              <p:cNvPr id="155" name="Ellipse 125">
                <a:extLst>
                  <a:ext uri="{FF2B5EF4-FFF2-40B4-BE49-F238E27FC236}">
                    <a16:creationId xmlns:a16="http://schemas.microsoft.com/office/drawing/2014/main" id="{94D6C45F-83F7-4278-B360-84E7F88CF083}"/>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56" name="Group 4">
                <a:extLst>
                  <a:ext uri="{FF2B5EF4-FFF2-40B4-BE49-F238E27FC236}">
                    <a16:creationId xmlns:a16="http://schemas.microsoft.com/office/drawing/2014/main" id="{1E3441B7-9263-4F25-AE59-5CC5D004A18F}"/>
                  </a:ext>
                </a:extLst>
              </p:cNvPr>
              <p:cNvGrpSpPr>
                <a:grpSpLocks noChangeAspect="1"/>
              </p:cNvGrpSpPr>
              <p:nvPr/>
            </p:nvGrpSpPr>
            <p:grpSpPr bwMode="auto">
              <a:xfrm>
                <a:off x="2912386" y="3366720"/>
                <a:ext cx="542122" cy="543618"/>
                <a:chOff x="2638" y="958"/>
                <a:chExt cx="1087" cy="1090"/>
              </a:xfrm>
              <a:noFill/>
            </p:grpSpPr>
            <p:sp>
              <p:nvSpPr>
                <p:cNvPr id="157" name="Freeform 5">
                  <a:extLst>
                    <a:ext uri="{FF2B5EF4-FFF2-40B4-BE49-F238E27FC236}">
                      <a16:creationId xmlns:a16="http://schemas.microsoft.com/office/drawing/2014/main" id="{53DDFAB0-76D4-4114-BA71-9F05DF2387CE}"/>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8" name="Freeform 6">
                  <a:extLst>
                    <a:ext uri="{FF2B5EF4-FFF2-40B4-BE49-F238E27FC236}">
                      <a16:creationId xmlns:a16="http://schemas.microsoft.com/office/drawing/2014/main" id="{A497E1A4-B728-47F8-B2E9-50E20738ACBB}"/>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9" name="Freeform 7">
                  <a:extLst>
                    <a:ext uri="{FF2B5EF4-FFF2-40B4-BE49-F238E27FC236}">
                      <a16:creationId xmlns:a16="http://schemas.microsoft.com/office/drawing/2014/main" id="{BB65988D-1D1C-4C08-9818-19DBFB5C21C6}"/>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8" name="IconEmail">
              <a:extLst>
                <a:ext uri="{FF2B5EF4-FFF2-40B4-BE49-F238E27FC236}">
                  <a16:creationId xmlns:a16="http://schemas.microsoft.com/office/drawing/2014/main" id="{7002F6AD-F708-4629-A994-A3CA206B8D8D}"/>
                </a:ext>
              </a:extLst>
            </p:cNvPr>
            <p:cNvGrpSpPr>
              <a:grpSpLocks noChangeAspect="1"/>
            </p:cNvGrpSpPr>
            <p:nvPr/>
          </p:nvGrpSpPr>
          <p:grpSpPr>
            <a:xfrm>
              <a:off x="631150" y="4162565"/>
              <a:ext cx="180000" cy="180000"/>
              <a:chOff x="2703390" y="4365085"/>
              <a:chExt cx="960114" cy="960114"/>
            </a:xfrm>
          </p:grpSpPr>
          <p:sp>
            <p:nvSpPr>
              <p:cNvPr id="149" name="Ellipse 125">
                <a:extLst>
                  <a:ext uri="{FF2B5EF4-FFF2-40B4-BE49-F238E27FC236}">
                    <a16:creationId xmlns:a16="http://schemas.microsoft.com/office/drawing/2014/main" id="{69A288FF-044C-4232-A68F-5DE056D28D85}"/>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50" name="Group 149">
                <a:extLst>
                  <a:ext uri="{FF2B5EF4-FFF2-40B4-BE49-F238E27FC236}">
                    <a16:creationId xmlns:a16="http://schemas.microsoft.com/office/drawing/2014/main" id="{4C0555CD-AEF6-40D3-BDC8-8321854D3251}"/>
                  </a:ext>
                </a:extLst>
              </p:cNvPr>
              <p:cNvGrpSpPr>
                <a:grpSpLocks noChangeAspect="1"/>
              </p:cNvGrpSpPr>
              <p:nvPr/>
            </p:nvGrpSpPr>
            <p:grpSpPr>
              <a:xfrm>
                <a:off x="2886170" y="4635603"/>
                <a:ext cx="594554" cy="419078"/>
                <a:chOff x="4562584" y="4650255"/>
                <a:chExt cx="457200" cy="322263"/>
              </a:xfrm>
            </p:grpSpPr>
            <p:sp>
              <p:nvSpPr>
                <p:cNvPr id="151" name="Line 20">
                  <a:extLst>
                    <a:ext uri="{FF2B5EF4-FFF2-40B4-BE49-F238E27FC236}">
                      <a16:creationId xmlns:a16="http://schemas.microsoft.com/office/drawing/2014/main" id="{54898FC4-6F84-4FFF-8888-574363D631C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21">
                  <a:extLst>
                    <a:ext uri="{FF2B5EF4-FFF2-40B4-BE49-F238E27FC236}">
                      <a16:creationId xmlns:a16="http://schemas.microsoft.com/office/drawing/2014/main" id="{DDF59620-DF2A-4507-AD51-ADBA432DD543}"/>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22">
                  <a:extLst>
                    <a:ext uri="{FF2B5EF4-FFF2-40B4-BE49-F238E27FC236}">
                      <a16:creationId xmlns:a16="http://schemas.microsoft.com/office/drawing/2014/main" id="{E4D9C1DB-DF7B-4F6F-B812-1407802A6AF9}"/>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4" name="Line 23">
                  <a:extLst>
                    <a:ext uri="{FF2B5EF4-FFF2-40B4-BE49-F238E27FC236}">
                      <a16:creationId xmlns:a16="http://schemas.microsoft.com/office/drawing/2014/main" id="{CB8F31FC-55C4-4D5D-8C65-47461120D67E}"/>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60" name="strPhone03">
            <a:extLst>
              <a:ext uri="{FF2B5EF4-FFF2-40B4-BE49-F238E27FC236}">
                <a16:creationId xmlns:a16="http://schemas.microsoft.com/office/drawing/2014/main" id="{14057E29-E071-4559-B979-8D757A051529}"/>
              </a:ext>
            </a:extLst>
          </p:cNvPr>
          <p:cNvSpPr>
            <a:spLocks noGrp="1"/>
          </p:cNvSpPr>
          <p:nvPr>
            <p:ph type="body" sz="quarter" idx="30"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161" name="strEmail03">
            <a:extLst>
              <a:ext uri="{FF2B5EF4-FFF2-40B4-BE49-F238E27FC236}">
                <a16:creationId xmlns:a16="http://schemas.microsoft.com/office/drawing/2014/main" id="{816064E9-A637-4815-B0B7-EF922F3C42F0}"/>
              </a:ext>
            </a:extLst>
          </p:cNvPr>
          <p:cNvSpPr>
            <a:spLocks noGrp="1"/>
          </p:cNvSpPr>
          <p:nvPr>
            <p:ph type="body" sz="quarter" idx="31"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162" name="strFunction03">
            <a:extLst>
              <a:ext uri="{FF2B5EF4-FFF2-40B4-BE49-F238E27FC236}">
                <a16:creationId xmlns:a16="http://schemas.microsoft.com/office/drawing/2014/main" id="{E019BC75-09C5-4FE6-91A7-9E90327D0CAA}"/>
              </a:ext>
            </a:extLst>
          </p:cNvPr>
          <p:cNvSpPr>
            <a:spLocks noGrp="1"/>
          </p:cNvSpPr>
          <p:nvPr>
            <p:ph type="body" sz="quarter" idx="32"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163" name="strName03">
            <a:extLst>
              <a:ext uri="{FF2B5EF4-FFF2-40B4-BE49-F238E27FC236}">
                <a16:creationId xmlns:a16="http://schemas.microsoft.com/office/drawing/2014/main" id="{7FDC1C83-BF00-42E2-A7C6-D5BC4CE301D5}"/>
              </a:ext>
            </a:extLst>
          </p:cNvPr>
          <p:cNvSpPr>
            <a:spLocks noGrp="1"/>
          </p:cNvSpPr>
          <p:nvPr>
            <p:ph type="body" sz="quarter" idx="33"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grpSp>
        <p:nvGrpSpPr>
          <p:cNvPr id="164" name="Icons02">
            <a:extLst>
              <a:ext uri="{FF2B5EF4-FFF2-40B4-BE49-F238E27FC236}">
                <a16:creationId xmlns:a16="http://schemas.microsoft.com/office/drawing/2014/main" id="{17F41577-7488-42A3-8B0F-3C3C4EF04601}"/>
              </a:ext>
            </a:extLst>
          </p:cNvPr>
          <p:cNvGrpSpPr/>
          <p:nvPr userDrawn="1"/>
        </p:nvGrpSpPr>
        <p:grpSpPr>
          <a:xfrm>
            <a:off x="5267422" y="3434914"/>
            <a:ext cx="464690" cy="562031"/>
            <a:chOff x="631150" y="4043586"/>
            <a:chExt cx="464690" cy="562031"/>
          </a:xfrm>
        </p:grpSpPr>
        <p:cxnSp>
          <p:nvCxnSpPr>
            <p:cNvPr id="165" name="Hline">
              <a:extLst>
                <a:ext uri="{FF2B5EF4-FFF2-40B4-BE49-F238E27FC236}">
                  <a16:creationId xmlns:a16="http://schemas.microsoft.com/office/drawing/2014/main" id="{F14E9C41-1003-478B-B8E6-0C106F2E6FA5}"/>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6" name="IconPhone">
              <a:extLst>
                <a:ext uri="{FF2B5EF4-FFF2-40B4-BE49-F238E27FC236}">
                  <a16:creationId xmlns:a16="http://schemas.microsoft.com/office/drawing/2014/main" id="{15D0D93D-577C-418E-9E49-2D5D4D6D553E}"/>
                </a:ext>
              </a:extLst>
            </p:cNvPr>
            <p:cNvGrpSpPr>
              <a:grpSpLocks noChangeAspect="1"/>
            </p:cNvGrpSpPr>
            <p:nvPr/>
          </p:nvGrpSpPr>
          <p:grpSpPr>
            <a:xfrm>
              <a:off x="631150" y="4425617"/>
              <a:ext cx="180000" cy="180000"/>
              <a:chOff x="2703390" y="3158472"/>
              <a:chExt cx="960114" cy="960114"/>
            </a:xfrm>
          </p:grpSpPr>
          <p:sp>
            <p:nvSpPr>
              <p:cNvPr id="174" name="Ellipse 125">
                <a:extLst>
                  <a:ext uri="{FF2B5EF4-FFF2-40B4-BE49-F238E27FC236}">
                    <a16:creationId xmlns:a16="http://schemas.microsoft.com/office/drawing/2014/main" id="{DF2D3F19-8418-4AB3-A9D8-5820037C2C68}"/>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75" name="Group 4">
                <a:extLst>
                  <a:ext uri="{FF2B5EF4-FFF2-40B4-BE49-F238E27FC236}">
                    <a16:creationId xmlns:a16="http://schemas.microsoft.com/office/drawing/2014/main" id="{55AA84D0-E733-4C67-A589-DACA464CB897}"/>
                  </a:ext>
                </a:extLst>
              </p:cNvPr>
              <p:cNvGrpSpPr>
                <a:grpSpLocks noChangeAspect="1"/>
              </p:cNvGrpSpPr>
              <p:nvPr/>
            </p:nvGrpSpPr>
            <p:grpSpPr bwMode="auto">
              <a:xfrm>
                <a:off x="2912386" y="3366720"/>
                <a:ext cx="542122" cy="543618"/>
                <a:chOff x="2638" y="958"/>
                <a:chExt cx="1087" cy="1090"/>
              </a:xfrm>
              <a:noFill/>
            </p:grpSpPr>
            <p:sp>
              <p:nvSpPr>
                <p:cNvPr id="176" name="Freeform 5">
                  <a:extLst>
                    <a:ext uri="{FF2B5EF4-FFF2-40B4-BE49-F238E27FC236}">
                      <a16:creationId xmlns:a16="http://schemas.microsoft.com/office/drawing/2014/main" id="{45DB1C7D-80D4-4A70-B8CC-30F7895833FA}"/>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7" name="Freeform 6">
                  <a:extLst>
                    <a:ext uri="{FF2B5EF4-FFF2-40B4-BE49-F238E27FC236}">
                      <a16:creationId xmlns:a16="http://schemas.microsoft.com/office/drawing/2014/main" id="{18F5EF59-9D04-4A49-BA12-C893C0505139}"/>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8" name="Freeform 7">
                  <a:extLst>
                    <a:ext uri="{FF2B5EF4-FFF2-40B4-BE49-F238E27FC236}">
                      <a16:creationId xmlns:a16="http://schemas.microsoft.com/office/drawing/2014/main" id="{0599A071-A4E3-400F-8EB5-3523352BB90B}"/>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67" name="IconEmail">
              <a:extLst>
                <a:ext uri="{FF2B5EF4-FFF2-40B4-BE49-F238E27FC236}">
                  <a16:creationId xmlns:a16="http://schemas.microsoft.com/office/drawing/2014/main" id="{AA0A29D3-1A95-4159-8550-FD8457F9C2CC}"/>
                </a:ext>
              </a:extLst>
            </p:cNvPr>
            <p:cNvGrpSpPr>
              <a:grpSpLocks noChangeAspect="1"/>
            </p:cNvGrpSpPr>
            <p:nvPr/>
          </p:nvGrpSpPr>
          <p:grpSpPr>
            <a:xfrm>
              <a:off x="631150" y="4162565"/>
              <a:ext cx="180000" cy="180000"/>
              <a:chOff x="2703390" y="4365085"/>
              <a:chExt cx="960114" cy="960114"/>
            </a:xfrm>
          </p:grpSpPr>
          <p:sp>
            <p:nvSpPr>
              <p:cNvPr id="168" name="Ellipse 125">
                <a:extLst>
                  <a:ext uri="{FF2B5EF4-FFF2-40B4-BE49-F238E27FC236}">
                    <a16:creationId xmlns:a16="http://schemas.microsoft.com/office/drawing/2014/main" id="{120A94C0-9853-4B6E-BAF4-020C6D1D721D}"/>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9" name="Group 168">
                <a:extLst>
                  <a:ext uri="{FF2B5EF4-FFF2-40B4-BE49-F238E27FC236}">
                    <a16:creationId xmlns:a16="http://schemas.microsoft.com/office/drawing/2014/main" id="{46796286-10AF-416B-AFB5-B7A955AB4B7F}"/>
                  </a:ext>
                </a:extLst>
              </p:cNvPr>
              <p:cNvGrpSpPr>
                <a:grpSpLocks noChangeAspect="1"/>
              </p:cNvGrpSpPr>
              <p:nvPr/>
            </p:nvGrpSpPr>
            <p:grpSpPr>
              <a:xfrm>
                <a:off x="2886170" y="4635603"/>
                <a:ext cx="594554" cy="419078"/>
                <a:chOff x="4562584" y="4650255"/>
                <a:chExt cx="457200" cy="322263"/>
              </a:xfrm>
            </p:grpSpPr>
            <p:sp>
              <p:nvSpPr>
                <p:cNvPr id="170" name="Line 20">
                  <a:extLst>
                    <a:ext uri="{FF2B5EF4-FFF2-40B4-BE49-F238E27FC236}">
                      <a16:creationId xmlns:a16="http://schemas.microsoft.com/office/drawing/2014/main" id="{83AAD9B9-3876-4D27-89B9-0D6A879A3993}"/>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21">
                  <a:extLst>
                    <a:ext uri="{FF2B5EF4-FFF2-40B4-BE49-F238E27FC236}">
                      <a16:creationId xmlns:a16="http://schemas.microsoft.com/office/drawing/2014/main" id="{825A81FE-407F-4E2D-96A5-7C6D9AD422B7}"/>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22">
                  <a:extLst>
                    <a:ext uri="{FF2B5EF4-FFF2-40B4-BE49-F238E27FC236}">
                      <a16:creationId xmlns:a16="http://schemas.microsoft.com/office/drawing/2014/main" id="{6C1B3F95-D7AB-48D5-BDBD-878D5C26D61C}"/>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3" name="Line 23">
                  <a:extLst>
                    <a:ext uri="{FF2B5EF4-FFF2-40B4-BE49-F238E27FC236}">
                      <a16:creationId xmlns:a16="http://schemas.microsoft.com/office/drawing/2014/main" id="{7784D739-A8C9-4FDD-B028-22857AC3DA51}"/>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79" name="strPhone02">
            <a:extLst>
              <a:ext uri="{FF2B5EF4-FFF2-40B4-BE49-F238E27FC236}">
                <a16:creationId xmlns:a16="http://schemas.microsoft.com/office/drawing/2014/main" id="{F4E8A020-6F75-4DA6-AE60-AC6CA5D5220B}"/>
              </a:ext>
            </a:extLst>
          </p:cNvPr>
          <p:cNvSpPr>
            <a:spLocks noGrp="1"/>
          </p:cNvSpPr>
          <p:nvPr>
            <p:ph type="body" sz="quarter" idx="26" hasCustomPrompt="1"/>
          </p:nvPr>
        </p:nvSpPr>
        <p:spPr>
          <a:xfrm>
            <a:off x="5536979" y="3808869"/>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180" name="strEmail02">
            <a:extLst>
              <a:ext uri="{FF2B5EF4-FFF2-40B4-BE49-F238E27FC236}">
                <a16:creationId xmlns:a16="http://schemas.microsoft.com/office/drawing/2014/main" id="{8970B6E8-761C-45B3-8AF4-3DA1244032CC}"/>
              </a:ext>
            </a:extLst>
          </p:cNvPr>
          <p:cNvSpPr>
            <a:spLocks noGrp="1"/>
          </p:cNvSpPr>
          <p:nvPr>
            <p:ph type="body" sz="quarter" idx="27" hasCustomPrompt="1"/>
          </p:nvPr>
        </p:nvSpPr>
        <p:spPr>
          <a:xfrm>
            <a:off x="5536979" y="3551088"/>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181" name="strFunction02">
            <a:extLst>
              <a:ext uri="{FF2B5EF4-FFF2-40B4-BE49-F238E27FC236}">
                <a16:creationId xmlns:a16="http://schemas.microsoft.com/office/drawing/2014/main" id="{1DF59D34-2064-417F-94E1-4605A2DF018C}"/>
              </a:ext>
            </a:extLst>
          </p:cNvPr>
          <p:cNvSpPr>
            <a:spLocks noGrp="1"/>
          </p:cNvSpPr>
          <p:nvPr>
            <p:ph type="body" sz="quarter" idx="28" hasCustomPrompt="1"/>
          </p:nvPr>
        </p:nvSpPr>
        <p:spPr>
          <a:xfrm>
            <a:off x="5267422" y="3106962"/>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182" name="strName02">
            <a:extLst>
              <a:ext uri="{FF2B5EF4-FFF2-40B4-BE49-F238E27FC236}">
                <a16:creationId xmlns:a16="http://schemas.microsoft.com/office/drawing/2014/main" id="{BE97F47A-E462-40A5-8B31-82EB5FBDEBBC}"/>
              </a:ext>
            </a:extLst>
          </p:cNvPr>
          <p:cNvSpPr>
            <a:spLocks noGrp="1"/>
          </p:cNvSpPr>
          <p:nvPr>
            <p:ph type="body" sz="quarter" idx="29" hasCustomPrompt="1"/>
          </p:nvPr>
        </p:nvSpPr>
        <p:spPr>
          <a:xfrm>
            <a:off x="5267422" y="2867022"/>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grpSp>
        <p:nvGrpSpPr>
          <p:cNvPr id="183" name="Icons01">
            <a:extLst>
              <a:ext uri="{FF2B5EF4-FFF2-40B4-BE49-F238E27FC236}">
                <a16:creationId xmlns:a16="http://schemas.microsoft.com/office/drawing/2014/main" id="{6FCDB661-4CC4-49CA-ABB9-79E996A68F0E}"/>
              </a:ext>
            </a:extLst>
          </p:cNvPr>
          <p:cNvGrpSpPr/>
          <p:nvPr userDrawn="1"/>
        </p:nvGrpSpPr>
        <p:grpSpPr>
          <a:xfrm>
            <a:off x="631150" y="3434914"/>
            <a:ext cx="464690" cy="562031"/>
            <a:chOff x="631150" y="4043586"/>
            <a:chExt cx="464690" cy="562031"/>
          </a:xfrm>
        </p:grpSpPr>
        <p:cxnSp>
          <p:nvCxnSpPr>
            <p:cNvPr id="184" name="Hline">
              <a:extLst>
                <a:ext uri="{FF2B5EF4-FFF2-40B4-BE49-F238E27FC236}">
                  <a16:creationId xmlns:a16="http://schemas.microsoft.com/office/drawing/2014/main" id="{B85FE1D4-15B2-478B-A874-FCB227FBFE4D}"/>
                </a:ext>
              </a:extLst>
            </p:cNvPr>
            <p:cNvCxnSpPr>
              <a:cxnSpLocks/>
            </p:cNvCxnSpPr>
            <p:nvPr/>
          </p:nvCxnSpPr>
          <p:spPr>
            <a:xfrm>
              <a:off x="631150" y="4043586"/>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5" name="IconPhone">
              <a:extLst>
                <a:ext uri="{FF2B5EF4-FFF2-40B4-BE49-F238E27FC236}">
                  <a16:creationId xmlns:a16="http://schemas.microsoft.com/office/drawing/2014/main" id="{ED7BE4EC-1A60-43AE-86B4-0BDD623FD05C}"/>
                </a:ext>
              </a:extLst>
            </p:cNvPr>
            <p:cNvGrpSpPr>
              <a:grpSpLocks noChangeAspect="1"/>
            </p:cNvGrpSpPr>
            <p:nvPr/>
          </p:nvGrpSpPr>
          <p:grpSpPr>
            <a:xfrm>
              <a:off x="631150" y="4425617"/>
              <a:ext cx="180000" cy="180000"/>
              <a:chOff x="2703390" y="3158472"/>
              <a:chExt cx="960114" cy="960114"/>
            </a:xfrm>
          </p:grpSpPr>
          <p:sp>
            <p:nvSpPr>
              <p:cNvPr id="193" name="Ellipse 125">
                <a:extLst>
                  <a:ext uri="{FF2B5EF4-FFF2-40B4-BE49-F238E27FC236}">
                    <a16:creationId xmlns:a16="http://schemas.microsoft.com/office/drawing/2014/main" id="{9525C37E-B775-4966-A42D-B8918D3EB2F0}"/>
                  </a:ext>
                </a:extLst>
              </p:cNvPr>
              <p:cNvSpPr/>
              <p:nvPr/>
            </p:nvSpPr>
            <p:spPr>
              <a:xfrm>
                <a:off x="2703390" y="3158472"/>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94" name="Group 4">
                <a:extLst>
                  <a:ext uri="{FF2B5EF4-FFF2-40B4-BE49-F238E27FC236}">
                    <a16:creationId xmlns:a16="http://schemas.microsoft.com/office/drawing/2014/main" id="{4F17C34E-A87B-4426-B69E-308B5BF79BF8}"/>
                  </a:ext>
                </a:extLst>
              </p:cNvPr>
              <p:cNvGrpSpPr>
                <a:grpSpLocks noChangeAspect="1"/>
              </p:cNvGrpSpPr>
              <p:nvPr/>
            </p:nvGrpSpPr>
            <p:grpSpPr bwMode="auto">
              <a:xfrm>
                <a:off x="2912386" y="3366720"/>
                <a:ext cx="542122" cy="543618"/>
                <a:chOff x="2638" y="958"/>
                <a:chExt cx="1087" cy="1090"/>
              </a:xfrm>
              <a:noFill/>
            </p:grpSpPr>
            <p:sp>
              <p:nvSpPr>
                <p:cNvPr id="195" name="Freeform 5">
                  <a:extLst>
                    <a:ext uri="{FF2B5EF4-FFF2-40B4-BE49-F238E27FC236}">
                      <a16:creationId xmlns:a16="http://schemas.microsoft.com/office/drawing/2014/main" id="{31E29092-1DB2-49C1-98A0-DBFA363E5A0B}"/>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 name="Freeform 6">
                  <a:extLst>
                    <a:ext uri="{FF2B5EF4-FFF2-40B4-BE49-F238E27FC236}">
                      <a16:creationId xmlns:a16="http://schemas.microsoft.com/office/drawing/2014/main" id="{CCCDFE6D-3370-4A92-9C79-12D20A38FA8D}"/>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7" name="Freeform 7">
                  <a:extLst>
                    <a:ext uri="{FF2B5EF4-FFF2-40B4-BE49-F238E27FC236}">
                      <a16:creationId xmlns:a16="http://schemas.microsoft.com/office/drawing/2014/main" id="{7BFC2256-49A5-4449-9E76-F716D6DDEB24}"/>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86" name="IconEmail">
              <a:extLst>
                <a:ext uri="{FF2B5EF4-FFF2-40B4-BE49-F238E27FC236}">
                  <a16:creationId xmlns:a16="http://schemas.microsoft.com/office/drawing/2014/main" id="{852D1758-A85B-488E-A877-FD31DFD19387}"/>
                </a:ext>
              </a:extLst>
            </p:cNvPr>
            <p:cNvGrpSpPr>
              <a:grpSpLocks noChangeAspect="1"/>
            </p:cNvGrpSpPr>
            <p:nvPr/>
          </p:nvGrpSpPr>
          <p:grpSpPr>
            <a:xfrm>
              <a:off x="631150" y="4162565"/>
              <a:ext cx="180000" cy="180000"/>
              <a:chOff x="2703390" y="4365085"/>
              <a:chExt cx="960114" cy="960114"/>
            </a:xfrm>
          </p:grpSpPr>
          <p:sp>
            <p:nvSpPr>
              <p:cNvPr id="187" name="Ellipse 125">
                <a:extLst>
                  <a:ext uri="{FF2B5EF4-FFF2-40B4-BE49-F238E27FC236}">
                    <a16:creationId xmlns:a16="http://schemas.microsoft.com/office/drawing/2014/main" id="{6FC3A3E6-BDB5-499F-8B4C-7A9FA1A0416C}"/>
                  </a:ext>
                </a:extLst>
              </p:cNvPr>
              <p:cNvSpPr/>
              <p:nvPr/>
            </p:nvSpPr>
            <p:spPr>
              <a:xfrm>
                <a:off x="2703390" y="4365085"/>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88" name="Group 187">
                <a:extLst>
                  <a:ext uri="{FF2B5EF4-FFF2-40B4-BE49-F238E27FC236}">
                    <a16:creationId xmlns:a16="http://schemas.microsoft.com/office/drawing/2014/main" id="{2AA8AB62-83ED-4A43-9060-390A0AE450B8}"/>
                  </a:ext>
                </a:extLst>
              </p:cNvPr>
              <p:cNvGrpSpPr>
                <a:grpSpLocks noChangeAspect="1"/>
              </p:cNvGrpSpPr>
              <p:nvPr/>
            </p:nvGrpSpPr>
            <p:grpSpPr>
              <a:xfrm>
                <a:off x="2886170" y="4635603"/>
                <a:ext cx="594554" cy="419078"/>
                <a:chOff x="4562584" y="4650255"/>
                <a:chExt cx="457200" cy="322263"/>
              </a:xfrm>
            </p:grpSpPr>
            <p:sp>
              <p:nvSpPr>
                <p:cNvPr id="189" name="Line 20">
                  <a:extLst>
                    <a:ext uri="{FF2B5EF4-FFF2-40B4-BE49-F238E27FC236}">
                      <a16:creationId xmlns:a16="http://schemas.microsoft.com/office/drawing/2014/main" id="{621805C5-E723-4163-9597-3A75AC086534}"/>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21">
                  <a:extLst>
                    <a:ext uri="{FF2B5EF4-FFF2-40B4-BE49-F238E27FC236}">
                      <a16:creationId xmlns:a16="http://schemas.microsoft.com/office/drawing/2014/main" id="{0EA59778-FDED-42CD-9513-FCA5D2789C8B}"/>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22">
                  <a:extLst>
                    <a:ext uri="{FF2B5EF4-FFF2-40B4-BE49-F238E27FC236}">
                      <a16:creationId xmlns:a16="http://schemas.microsoft.com/office/drawing/2014/main" id="{B1F20495-C2A9-42EC-B1F3-E9B0A543C02E}"/>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 name="Line 23">
                  <a:extLst>
                    <a:ext uri="{FF2B5EF4-FFF2-40B4-BE49-F238E27FC236}">
                      <a16:creationId xmlns:a16="http://schemas.microsoft.com/office/drawing/2014/main" id="{79E3FE13-29E8-4D57-980A-B4744E4BCB69}"/>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98" name="strPhone01">
            <a:extLst>
              <a:ext uri="{FF2B5EF4-FFF2-40B4-BE49-F238E27FC236}">
                <a16:creationId xmlns:a16="http://schemas.microsoft.com/office/drawing/2014/main" id="{2B78352A-2DB0-42ED-B4CC-25C447E76308}"/>
              </a:ext>
            </a:extLst>
          </p:cNvPr>
          <p:cNvSpPr>
            <a:spLocks noGrp="1"/>
          </p:cNvSpPr>
          <p:nvPr>
            <p:ph type="body" sz="quarter" idx="12" hasCustomPrompt="1"/>
          </p:nvPr>
        </p:nvSpPr>
        <p:spPr>
          <a:xfrm>
            <a:off x="900707" y="3808869"/>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32 # ### ## ##</a:t>
            </a:r>
            <a:endParaRPr lang="en-US" dirty="0"/>
          </a:p>
        </p:txBody>
      </p:sp>
      <p:sp>
        <p:nvSpPr>
          <p:cNvPr id="199" name="strEmail01">
            <a:extLst>
              <a:ext uri="{FF2B5EF4-FFF2-40B4-BE49-F238E27FC236}">
                <a16:creationId xmlns:a16="http://schemas.microsoft.com/office/drawing/2014/main" id="{7B808EA4-564C-4339-B276-14F0B11E1AF3}"/>
              </a:ext>
            </a:extLst>
          </p:cNvPr>
          <p:cNvSpPr>
            <a:spLocks noGrp="1"/>
          </p:cNvSpPr>
          <p:nvPr>
            <p:ph type="body" sz="quarter" idx="13" hasCustomPrompt="1"/>
          </p:nvPr>
        </p:nvSpPr>
        <p:spPr>
          <a:xfrm>
            <a:off x="900707" y="3551088"/>
            <a:ext cx="4050443" cy="246221"/>
          </a:xfrm>
        </p:spPr>
        <p:txBody>
          <a:bodyPr>
            <a:noAutofit/>
          </a:bodyPr>
          <a:lstStyle>
            <a:lvl1pPr>
              <a:spcBef>
                <a:spcPts val="0"/>
              </a:spcBef>
              <a:defRPr sz="1200" cap="none" baseline="0">
                <a:solidFill>
                  <a:schemeClr val="bg1"/>
                </a:solidFill>
                <a:latin typeface="+mn-lt"/>
              </a:defRPr>
            </a:lvl1pPr>
          </a:lstStyle>
          <a:p>
            <a:pPr lvl="0"/>
            <a:r>
              <a:rPr lang="en-US" sz="1200" dirty="0">
                <a:solidFill>
                  <a:schemeClr val="bg1"/>
                </a:solidFill>
              </a:rPr>
              <a:t>firstname.lastname@ipsos.com</a:t>
            </a:r>
            <a:endParaRPr lang="en-US" dirty="0"/>
          </a:p>
        </p:txBody>
      </p:sp>
      <p:sp>
        <p:nvSpPr>
          <p:cNvPr id="200" name="strFunction01">
            <a:extLst>
              <a:ext uri="{FF2B5EF4-FFF2-40B4-BE49-F238E27FC236}">
                <a16:creationId xmlns:a16="http://schemas.microsoft.com/office/drawing/2014/main" id="{AA1447AC-4185-41D6-962B-6F4A08D889E8}"/>
              </a:ext>
            </a:extLst>
          </p:cNvPr>
          <p:cNvSpPr>
            <a:spLocks noGrp="1"/>
          </p:cNvSpPr>
          <p:nvPr>
            <p:ph type="body" sz="quarter" idx="11" hasCustomPrompt="1"/>
          </p:nvPr>
        </p:nvSpPr>
        <p:spPr>
          <a:xfrm>
            <a:off x="631150" y="3106962"/>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dirty="0"/>
              <a:t>Function Title</a:t>
            </a:r>
          </a:p>
        </p:txBody>
      </p:sp>
      <p:sp>
        <p:nvSpPr>
          <p:cNvPr id="201" name="strName01">
            <a:extLst>
              <a:ext uri="{FF2B5EF4-FFF2-40B4-BE49-F238E27FC236}">
                <a16:creationId xmlns:a16="http://schemas.microsoft.com/office/drawing/2014/main" id="{843068E5-7BFD-48E0-B26B-1EFB59D9A2D1}"/>
              </a:ext>
            </a:extLst>
          </p:cNvPr>
          <p:cNvSpPr>
            <a:spLocks noGrp="1"/>
          </p:cNvSpPr>
          <p:nvPr>
            <p:ph type="body" sz="quarter" idx="10" hasCustomPrompt="1"/>
          </p:nvPr>
        </p:nvSpPr>
        <p:spPr>
          <a:xfrm>
            <a:off x="631150" y="2867022"/>
            <a:ext cx="4320000" cy="246221"/>
          </a:xfrm>
        </p:spPr>
        <p:txBody>
          <a:bodyPr>
            <a:noAutofit/>
          </a:bodyPr>
          <a:lstStyle>
            <a:lvl1pPr>
              <a:spcBef>
                <a:spcPts val="0"/>
              </a:spcBef>
              <a:defRPr cap="all" baseline="0">
                <a:solidFill>
                  <a:schemeClr val="bg1"/>
                </a:solidFill>
                <a:latin typeface="+mj-lt"/>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07658502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Cover">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7" name="Angled stripes">
            <a:extLst>
              <a:ext uri="{FF2B5EF4-FFF2-40B4-BE49-F238E27FC236}">
                <a16:creationId xmlns:a16="http://schemas.microsoft.com/office/drawing/2014/main" id="{4E731B71-5650-4C30-97B0-4057911655A6}"/>
              </a:ext>
            </a:extLst>
          </p:cNvPr>
          <p:cNvGrpSpPr/>
          <p:nvPr userDrawn="1"/>
        </p:nvGrpSpPr>
        <p:grpSpPr>
          <a:xfrm>
            <a:off x="2101012" y="2821242"/>
            <a:ext cx="11833943" cy="1855206"/>
            <a:chOff x="2101012" y="2821242"/>
            <a:chExt cx="11833943" cy="1855206"/>
          </a:xfrm>
        </p:grpSpPr>
        <p:sp>
          <p:nvSpPr>
            <p:cNvPr id="9" name="Angled stripe 1">
              <a:extLst>
                <a:ext uri="{FF2B5EF4-FFF2-40B4-BE49-F238E27FC236}">
                  <a16:creationId xmlns:a16="http://schemas.microsoft.com/office/drawing/2014/main" id="{6661A596-05F4-42F3-B61C-DC7028F8CAD8}"/>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ngled stripe 2">
              <a:extLst>
                <a:ext uri="{FF2B5EF4-FFF2-40B4-BE49-F238E27FC236}">
                  <a16:creationId xmlns:a16="http://schemas.microsoft.com/office/drawing/2014/main" id="{E92F2EB7-C25E-4DBB-B49D-88374BC93E28}"/>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GameChangers">
            <a:extLst>
              <a:ext uri="{FF2B5EF4-FFF2-40B4-BE49-F238E27FC236}">
                <a16:creationId xmlns:a16="http://schemas.microsoft.com/office/drawing/2014/main" id="{26B8CB77-607B-4512-89C5-9851231EE864}"/>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2" name="IpsosLogo">
            <a:extLst>
              <a:ext uri="{FF2B5EF4-FFF2-40B4-BE49-F238E27FC236}">
                <a16:creationId xmlns:a16="http://schemas.microsoft.com/office/drawing/2014/main" id="{CF6DDE30-F945-4D4E-8F34-AB449811E7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015381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_Light">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a:solidFill>
            <a:schemeClr val="bg1">
              <a:lumMod val="95000"/>
            </a:schemeClr>
          </a:solidFill>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3" name="Slide Number Placeholder 2">
            <a:extLst>
              <a:ext uri="{FF2B5EF4-FFF2-40B4-BE49-F238E27FC236}">
                <a16:creationId xmlns:a16="http://schemas.microsoft.com/office/drawing/2014/main" id="{130E4126-5247-46D6-AA2C-63AA262DD9CA}"/>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
        <p:nvSpPr>
          <p:cNvPr id="9" name="strTableOfContents">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14473" y="1593561"/>
            <a:ext cx="11369540" cy="4535777"/>
          </a:xfrm>
        </p:spPr>
        <p:txBody>
          <a:bodyPr wrap="square" lIns="0" rIns="0" numCol="2" spcCol="576000">
            <a:noAutofit/>
          </a:bodyPr>
          <a:lstStyle>
            <a:lvl1pPr marL="0" marR="0" indent="0" algn="l" defTabSz="447675" rtl="0" eaLnBrk="1" fontAlgn="auto" latinLnBrk="0" hangingPunct="1">
              <a:lnSpc>
                <a:spcPct val="100000"/>
              </a:lnSpc>
              <a:spcBef>
                <a:spcPts val="1800"/>
              </a:spcBef>
              <a:spcAft>
                <a:spcPts val="0"/>
              </a:spcAft>
              <a:buClrTx/>
              <a:buSzPct val="100000"/>
              <a:buFont typeface="+mj-lt"/>
              <a:buNone/>
              <a:tabLst/>
              <a:defRPr sz="1600" b="1">
                <a:solidFill>
                  <a:schemeClr val="tx2"/>
                </a:solidFill>
                <a:latin typeface="+mn-lt"/>
              </a:defRPr>
            </a:lvl1pPr>
            <a:lvl2pPr marL="447675" indent="0" defTabSz="447675">
              <a:lnSpc>
                <a:spcPct val="100000"/>
              </a:lnSpc>
              <a:buFont typeface="Arial" panose="020B0604020202020204" pitchFamily="34" charset="0"/>
              <a:buNone/>
              <a:defRPr sz="1600">
                <a:solidFill>
                  <a:schemeClr val="tx2"/>
                </a:solidFill>
              </a:defRPr>
            </a:lvl2pPr>
            <a:lvl3pPr marL="895350" indent="0" defTabSz="447675">
              <a:buNone/>
              <a:defRPr>
                <a:solidFill>
                  <a:schemeClr val="tx2"/>
                </a:solidFill>
              </a:defRPr>
            </a:lvl3pPr>
            <a:lvl4pPr>
              <a:defRPr>
                <a:solidFill>
                  <a:schemeClr val="bg1"/>
                </a:solidFill>
              </a:defRPr>
            </a:lvl4pPr>
            <a:lvl5pPr>
              <a:defRPr>
                <a:solidFill>
                  <a:schemeClr val="bg1"/>
                </a:solidFill>
              </a:defRPr>
            </a:lvl5pPr>
          </a:lstStyle>
          <a:p>
            <a:pPr lvl="0"/>
            <a:r>
              <a:rPr lang="en-US" noProof="0" dirty="0"/>
              <a:t>1. 	CHAPTER TITLE</a:t>
            </a:r>
          </a:p>
          <a:p>
            <a:pPr lvl="1"/>
            <a:r>
              <a:rPr lang="en-US" noProof="0" dirty="0"/>
              <a:t>1.1	Section title</a:t>
            </a:r>
          </a:p>
          <a:p>
            <a:pPr lvl="1"/>
            <a:r>
              <a:rPr lang="en-US" noProof="0" dirty="0"/>
              <a:t>1.2	Section title</a:t>
            </a:r>
          </a:p>
          <a:p>
            <a:pPr lvl="2"/>
            <a:r>
              <a:rPr lang="en-US" noProof="0" dirty="0"/>
              <a:t>1.2.1	Subsection title</a:t>
            </a:r>
          </a:p>
          <a:p>
            <a:pPr lvl="2"/>
            <a:r>
              <a:rPr lang="en-US" noProof="0" dirty="0"/>
              <a:t>1.2.2	Subsection title</a:t>
            </a:r>
          </a:p>
          <a:p>
            <a:pPr lvl="0"/>
            <a:r>
              <a:rPr lang="en-US" noProof="0" dirty="0"/>
              <a:t>2. 	CHAPTER TITLE</a:t>
            </a:r>
          </a:p>
          <a:p>
            <a:pPr lvl="1"/>
            <a:r>
              <a:rPr lang="en-US" noProof="0" dirty="0"/>
              <a:t>2.1	Section title</a:t>
            </a:r>
          </a:p>
          <a:p>
            <a:pPr lvl="1"/>
            <a:r>
              <a:rPr lang="en-US" noProof="0" dirty="0"/>
              <a:t>2.2	Section title</a:t>
            </a:r>
          </a:p>
          <a:p>
            <a:pPr lvl="0"/>
            <a:r>
              <a:rPr lang="en-US" noProof="0" dirty="0"/>
              <a:t>3.	CHAPTER TITLE</a:t>
            </a:r>
          </a:p>
          <a:p>
            <a:pPr marL="0" marR="0" lvl="0" indent="0" algn="l" defTabSz="447675" rtl="0" eaLnBrk="1" fontAlgn="auto" latinLnBrk="0" hangingPunct="1">
              <a:lnSpc>
                <a:spcPct val="100000"/>
              </a:lnSpc>
              <a:spcBef>
                <a:spcPts val="1800"/>
              </a:spcBef>
              <a:spcAft>
                <a:spcPts val="0"/>
              </a:spcAft>
              <a:buClrTx/>
              <a:buSzPct val="100000"/>
              <a:buFont typeface="+mj-lt"/>
              <a:buNone/>
              <a:tabLst/>
              <a:defRPr/>
            </a:pPr>
            <a:r>
              <a:rPr lang="en-US" noProof="0" dirty="0"/>
              <a:t>4.	CHAPTER TITLE</a:t>
            </a:r>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2"/>
                </a:solidFill>
              </a:defRPr>
            </a:lvl1pPr>
          </a:lstStyle>
          <a:p>
            <a:r>
              <a:rPr lang="en-US" noProof="0" dirty="0"/>
              <a:t>SUMMARY</a:t>
            </a:r>
          </a:p>
        </p:txBody>
      </p:sp>
    </p:spTree>
    <p:extLst>
      <p:ext uri="{BB962C8B-B14F-4D97-AF65-F5344CB8AC3E}">
        <p14:creationId xmlns:p14="http://schemas.microsoft.com/office/powerpoint/2010/main" val="906195979"/>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bout Ipso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47F634C5-9F96-45B9-BD58-344CAD7F5456}"/>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0" name="Straight Connector 9">
            <a:extLst>
              <a:ext uri="{FF2B5EF4-FFF2-40B4-BE49-F238E27FC236}">
                <a16:creationId xmlns:a16="http://schemas.microsoft.com/office/drawing/2014/main" id="{ACCC9E81-92EB-4F8F-AC7F-CECE11C1EAFB}"/>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409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68041507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Results and Topic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18402" y="118801"/>
            <a:ext cx="10883100" cy="553999"/>
          </a:xfrm>
          <a:prstGeom prst="rect">
            <a:avLst/>
          </a:prstGeom>
        </p:spPr>
        <p:txBody>
          <a:bodyPr wrap="square" lIns="0" tIns="0" rIns="0" bIns="0" anchor="ctr" anchorCtr="0">
            <a:spAutoFit/>
          </a:bodyPr>
          <a:lstStyle>
            <a:lvl1pPr algn="l">
              <a:lnSpc>
                <a:spcPct val="90000"/>
              </a:lnSpc>
              <a:defRPr sz="2000" b="1"/>
            </a:lvl1pPr>
          </a:lstStyle>
          <a:p>
            <a:r>
              <a:rPr lang="en-US" noProof="0" dirty="0" err="1"/>
              <a:t>Titelmasterformat</a:t>
            </a:r>
            <a:r>
              <a:rPr lang="en-US" noProof="0" dirty="0"/>
              <a:t> </a:t>
            </a:r>
            <a:r>
              <a:rPr lang="en-US" noProof="0" dirty="0" err="1"/>
              <a:t>durch</a:t>
            </a:r>
            <a:r>
              <a:rPr lang="en-US" noProof="0" dirty="0"/>
              <a:t> </a:t>
            </a:r>
            <a:br>
              <a:rPr lang="en-US" noProof="0" dirty="0"/>
            </a:br>
            <a:r>
              <a:rPr lang="en-US" noProof="0" dirty="0" err="1"/>
              <a:t>Klicken</a:t>
            </a:r>
            <a:r>
              <a:rPr lang="en-US" noProof="0" dirty="0"/>
              <a:t> </a:t>
            </a:r>
            <a:r>
              <a:rPr lang="en-US" noProof="0" dirty="0" err="1"/>
              <a:t>bearbeiten</a:t>
            </a:r>
            <a:endParaRPr lang="en-US" noProof="0" dirty="0"/>
          </a:p>
        </p:txBody>
      </p:sp>
      <p:sp>
        <p:nvSpPr>
          <p:cNvPr id="3" name="Inhaltsplatzhalter 2"/>
          <p:cNvSpPr>
            <a:spLocks noGrp="1"/>
          </p:cNvSpPr>
          <p:nvPr>
            <p:ph idx="1"/>
          </p:nvPr>
        </p:nvSpPr>
        <p:spPr>
          <a:xfrm>
            <a:off x="470400" y="979200"/>
            <a:ext cx="10320000" cy="5490000"/>
          </a:xfrm>
          <a:prstGeom prst="rect">
            <a:avLst/>
          </a:prstGeom>
        </p:spPr>
        <p:txBody>
          <a:bodyPr lIns="0" tIns="0" rIns="0" bIns="0"/>
          <a:lstStyle>
            <a:lvl1pPr marL="182558" indent="-182558">
              <a:lnSpc>
                <a:spcPct val="90000"/>
              </a:lnSpc>
              <a:spcBef>
                <a:spcPts val="800"/>
              </a:spcBef>
              <a:buFont typeface="Wingdings" pitchFamily="2" charset="2"/>
              <a:buChar char="§"/>
              <a:defRPr sz="1800"/>
            </a:lvl1pPr>
            <a:lvl2pPr marL="539737" indent="-274632">
              <a:lnSpc>
                <a:spcPct val="90000"/>
              </a:lnSpc>
              <a:spcBef>
                <a:spcPts val="800"/>
              </a:spcBef>
              <a:buClr>
                <a:schemeClr val="tx1"/>
              </a:buClr>
              <a:buFont typeface="Wingdings" pitchFamily="2" charset="2"/>
              <a:buChar char="ð"/>
              <a:defRPr sz="1600"/>
            </a:lvl2pPr>
            <a:lvl3pPr marL="804843" indent="-174621">
              <a:lnSpc>
                <a:spcPct val="90000"/>
              </a:lnSpc>
              <a:spcBef>
                <a:spcPts val="800"/>
              </a:spcBef>
              <a:buClr>
                <a:schemeClr val="tx1"/>
              </a:buClr>
              <a:buFont typeface="Calibri" pitchFamily="34" charset="0"/>
              <a:buChar char="─"/>
              <a:defRPr sz="1400"/>
            </a:lvl3pPr>
          </a:lstStyle>
          <a:p>
            <a:pPr lvl="0"/>
            <a:r>
              <a:rPr lang="en-US" noProof="0"/>
              <a:t>Click to edit Master text styles</a:t>
            </a:r>
          </a:p>
          <a:p>
            <a:pPr lvl="1"/>
            <a:r>
              <a:rPr lang="en-US" noProof="0"/>
              <a:t>Second level</a:t>
            </a:r>
          </a:p>
          <a:p>
            <a:pPr lvl="2"/>
            <a:r>
              <a:rPr lang="en-US" noProof="0"/>
              <a:t>Third level</a:t>
            </a:r>
          </a:p>
        </p:txBody>
      </p:sp>
      <p:sp>
        <p:nvSpPr>
          <p:cNvPr id="44" name="Foliennummernplatzhalter 5"/>
          <p:cNvSpPr>
            <a:spLocks noGrp="1"/>
          </p:cNvSpPr>
          <p:nvPr>
            <p:ph type="sldNum" sz="quarter" idx="12"/>
          </p:nvPr>
        </p:nvSpPr>
        <p:spPr>
          <a:xfrm>
            <a:off x="11789307" y="6566402"/>
            <a:ext cx="183811" cy="184665"/>
          </a:xfrm>
          <a:prstGeom prst="rect">
            <a:avLst/>
          </a:prstGeom>
        </p:spPr>
        <p:txBody>
          <a:bodyPr wrap="none" lIns="0" tIns="0" rIns="0" bIns="0" anchor="b" anchorCtr="0">
            <a:spAutoFit/>
          </a:bodyPr>
          <a:lstStyle>
            <a:lvl1pPr algn="r">
              <a:defRPr sz="1200" b="1"/>
            </a:lvl1pPr>
          </a:lstStyle>
          <a:p>
            <a:fld id="{99DB18A3-D21F-4BB0-9E84-DFB029941648}" type="slidenum">
              <a:rPr lang="de-DE" smtClean="0"/>
              <a:pPr/>
              <a:t>‹#›</a:t>
            </a:fld>
            <a:endParaRPr lang="de-DE" dirty="0"/>
          </a:p>
        </p:txBody>
      </p:sp>
    </p:spTree>
    <p:extLst>
      <p:ext uri="{BB962C8B-B14F-4D97-AF65-F5344CB8AC3E}">
        <p14:creationId xmlns:p14="http://schemas.microsoft.com/office/powerpoint/2010/main" val="27166221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mmary_Ligh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1" y="5125819"/>
            <a:ext cx="11375321" cy="738664"/>
          </a:xfrm>
        </p:spPr>
        <p:txBody>
          <a:bodyPr lIns="0" anchor="b">
            <a:noAutofit/>
          </a:bodyPr>
          <a:lstStyle>
            <a:lvl1pPr>
              <a:lnSpc>
                <a:spcPct val="80000"/>
              </a:lnSpc>
              <a:defRPr sz="6000" spc="-200" baseline="0">
                <a:solidFill>
                  <a:schemeClr val="bg2"/>
                </a:solidFill>
              </a:defRPr>
            </a:lvl1pPr>
          </a:lstStyle>
          <a:p>
            <a:r>
              <a:rPr lang="en-US" noProof="0" dirty="0"/>
              <a:t>SUMMARY</a:t>
            </a:r>
          </a:p>
        </p:txBody>
      </p:sp>
      <p:sp>
        <p:nvSpPr>
          <p:cNvPr id="3" name="Slide Number Placeholder 2">
            <a:extLst>
              <a:ext uri="{FF2B5EF4-FFF2-40B4-BE49-F238E27FC236}">
                <a16:creationId xmlns:a16="http://schemas.microsoft.com/office/drawing/2014/main" id="{130E4126-5247-46D6-AA2C-63AA262DD9CA}"/>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grpSp>
        <p:nvGrpSpPr>
          <p:cNvPr id="5" name="Group 4">
            <a:extLst>
              <a:ext uri="{FF2B5EF4-FFF2-40B4-BE49-F238E27FC236}">
                <a16:creationId xmlns:a16="http://schemas.microsoft.com/office/drawing/2014/main" id="{45446653-A1D8-4E73-8A70-5B844AF68F5F}"/>
              </a:ext>
            </a:extLst>
          </p:cNvPr>
          <p:cNvGrpSpPr/>
          <p:nvPr userDrawn="1"/>
        </p:nvGrpSpPr>
        <p:grpSpPr>
          <a:xfrm>
            <a:off x="-954765" y="889565"/>
            <a:ext cx="5372804" cy="1067932"/>
            <a:chOff x="-954765" y="889565"/>
            <a:chExt cx="5372804" cy="1067932"/>
          </a:xfrm>
        </p:grpSpPr>
        <p:sp>
          <p:nvSpPr>
            <p:cNvPr id="11" name="Forme libre : forme 22">
              <a:extLst>
                <a:ext uri="{FF2B5EF4-FFF2-40B4-BE49-F238E27FC236}">
                  <a16:creationId xmlns:a16="http://schemas.microsoft.com/office/drawing/2014/main" id="{35713389-3714-432A-ACF7-ED376D4DE1F8}"/>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orme libre : forme 20">
              <a:extLst>
                <a:ext uri="{FF2B5EF4-FFF2-40B4-BE49-F238E27FC236}">
                  <a16:creationId xmlns:a16="http://schemas.microsoft.com/office/drawing/2014/main" id="{313A3C77-5424-4810-8AE7-0FD7B7AF2747}"/>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Tree>
    <p:extLst>
      <p:ext uri="{BB962C8B-B14F-4D97-AF65-F5344CB8AC3E}">
        <p14:creationId xmlns:p14="http://schemas.microsoft.com/office/powerpoint/2010/main" val="1043584404"/>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16" name="Angled stripes">
            <a:extLst>
              <a:ext uri="{FF2B5EF4-FFF2-40B4-BE49-F238E27FC236}">
                <a16:creationId xmlns:a16="http://schemas.microsoft.com/office/drawing/2014/main" id="{2C4B8BAF-AE5A-4D99-B44E-CE24F999213A}"/>
              </a:ext>
            </a:extLst>
          </p:cNvPr>
          <p:cNvGrpSpPr/>
          <p:nvPr userDrawn="1"/>
        </p:nvGrpSpPr>
        <p:grpSpPr>
          <a:xfrm>
            <a:off x="3254052" y="0"/>
            <a:ext cx="8937949" cy="6858001"/>
            <a:chOff x="3254052" y="0"/>
            <a:chExt cx="8937949" cy="6858001"/>
          </a:xfrm>
        </p:grpSpPr>
        <p:sp>
          <p:nvSpPr>
            <p:cNvPr id="17" name="Angled stripe 1">
              <a:extLst>
                <a:ext uri="{FF2B5EF4-FFF2-40B4-BE49-F238E27FC236}">
                  <a16:creationId xmlns:a16="http://schemas.microsoft.com/office/drawing/2014/main" id="{85C70DEE-01A2-4BB4-AF39-A9D287892963}"/>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8" name="Angled stripe 2">
              <a:extLst>
                <a:ext uri="{FF2B5EF4-FFF2-40B4-BE49-F238E27FC236}">
                  <a16:creationId xmlns:a16="http://schemas.microsoft.com/office/drawing/2014/main" id="{7C56B406-5C6C-42AB-952E-A67FF85931D1}"/>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strTitlePosition">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4" name="strSubtitle">
            <a:extLst>
              <a:ext uri="{FF2B5EF4-FFF2-40B4-BE49-F238E27FC236}">
                <a16:creationId xmlns:a16="http://schemas.microsoft.com/office/drawing/2014/main" id="{C2E513F1-2D63-478C-B341-4B95DCCDE07F}"/>
              </a:ext>
            </a:extLst>
          </p:cNvPr>
          <p:cNvSpPr>
            <a:spLocks noGrp="1"/>
          </p:cNvSpPr>
          <p:nvPr>
            <p:ph type="body" sz="quarter" idx="15" hasCustomPrompt="1"/>
          </p:nvPr>
        </p:nvSpPr>
        <p:spPr>
          <a:xfrm>
            <a:off x="414980" y="2816932"/>
            <a:ext cx="7559675" cy="442035"/>
          </a:xfrm>
        </p:spPr>
        <p:txBody>
          <a:bodyPr lIns="72000" tIns="36000" rIns="72000" bIns="36000">
            <a:noAutofit/>
          </a:bodyPr>
          <a:lstStyle>
            <a:lvl1pPr>
              <a:defRPr sz="2400" b="1">
                <a:solidFill>
                  <a:schemeClr val="bg1"/>
                </a:solidFill>
              </a:defRPr>
            </a:lvl1pPr>
          </a:lstStyle>
          <a:p>
            <a:pPr lvl="0"/>
            <a:r>
              <a:rPr lang="en-US" dirty="0"/>
              <a:t>Subtitle of the chapter</a:t>
            </a:r>
          </a:p>
        </p:txBody>
      </p:sp>
      <p:sp>
        <p:nvSpPr>
          <p:cNvPr id="15" name="strTitle">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60000"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2" name="strSlideNumber">
            <a:extLst>
              <a:ext uri="{FF2B5EF4-FFF2-40B4-BE49-F238E27FC236}">
                <a16:creationId xmlns:a16="http://schemas.microsoft.com/office/drawing/2014/main" id="{FB118F43-5A71-4406-A46A-98998AD722B4}"/>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22" name="SlideNumberLine">
            <a:extLst>
              <a:ext uri="{FF2B5EF4-FFF2-40B4-BE49-F238E27FC236}">
                <a16:creationId xmlns:a16="http://schemas.microsoft.com/office/drawing/2014/main" id="{8F97C3CD-7788-44F6-A410-986B00DD6249}"/>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c)Ipsos">
            <a:extLst>
              <a:ext uri="{FF2B5EF4-FFF2-40B4-BE49-F238E27FC236}">
                <a16:creationId xmlns:a16="http://schemas.microsoft.com/office/drawing/2014/main" id="{CFE675CD-A586-4D36-9E02-4FB267583B9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3" name="IpsosLogo">
            <a:extLst>
              <a:ext uri="{FF2B5EF4-FFF2-40B4-BE49-F238E27FC236}">
                <a16:creationId xmlns:a16="http://schemas.microsoft.com/office/drawing/2014/main" id="{61F9706F-5333-46C4-B539-E29F7BDE8D2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_Default">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nvGrpSpPr>
          <p:cNvPr id="6" name="Angled stripes">
            <a:extLst>
              <a:ext uri="{FF2B5EF4-FFF2-40B4-BE49-F238E27FC236}">
                <a16:creationId xmlns:a16="http://schemas.microsoft.com/office/drawing/2014/main" id="{7879DBC7-A314-40E7-97A8-8683CC8095F4}"/>
              </a:ext>
            </a:extLst>
          </p:cNvPr>
          <p:cNvGrpSpPr/>
          <p:nvPr userDrawn="1"/>
        </p:nvGrpSpPr>
        <p:grpSpPr>
          <a:xfrm>
            <a:off x="3254052" y="0"/>
            <a:ext cx="8937948" cy="6858003"/>
            <a:chOff x="3254052" y="0"/>
            <a:chExt cx="8937948" cy="6858003"/>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1" name="strTitlePosition">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5" name="strChapterNumber">
            <a:extLst>
              <a:ext uri="{FF2B5EF4-FFF2-40B4-BE49-F238E27FC236}">
                <a16:creationId xmlns:a16="http://schemas.microsoft.com/office/drawing/2014/main" id="{2182497A-A9CD-4B73-98C8-BBA11B48CAEC}"/>
              </a:ext>
            </a:extLst>
          </p:cNvPr>
          <p:cNvSpPr>
            <a:spLocks noGrp="1"/>
          </p:cNvSpPr>
          <p:nvPr>
            <p:ph type="body" sz="quarter" idx="15" hasCustomPrompt="1"/>
          </p:nvPr>
        </p:nvSpPr>
        <p:spPr>
          <a:xfrm>
            <a:off x="414980" y="4906800"/>
            <a:ext cx="7560000" cy="565146"/>
          </a:xfrm>
        </p:spPr>
        <p:txBody>
          <a:bodyPr lIns="72000" tIns="36000" rIns="72000" bIns="36000">
            <a:noAutofit/>
          </a:bodyPr>
          <a:lstStyle>
            <a:lvl1pPr>
              <a:defRPr sz="3200" b="1">
                <a:solidFill>
                  <a:schemeClr val="bg2"/>
                </a:solidFill>
              </a:defRPr>
            </a:lvl1pPr>
          </a:lstStyle>
          <a:p>
            <a:pPr lvl="0"/>
            <a:r>
              <a:rPr lang="en-US" dirty="0"/>
              <a:t>0. Chapter Title</a:t>
            </a:r>
          </a:p>
        </p:txBody>
      </p:sp>
      <p:sp>
        <p:nvSpPr>
          <p:cNvPr id="15" name="strSectionTitle">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60000"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06390949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bsection_Default">
    <p:spTree>
      <p:nvGrpSpPr>
        <p:cNvPr id="1" name=""/>
        <p:cNvGrpSpPr/>
        <p:nvPr/>
      </p:nvGrpSpPr>
      <p:grpSpPr>
        <a:xfrm>
          <a:off x="0" y="0"/>
          <a:ext cx="0" cy="0"/>
          <a:chOff x="0" y="0"/>
          <a:chExt cx="0" cy="0"/>
        </a:xfrm>
      </p:grpSpPr>
      <p:sp>
        <p:nvSpPr>
          <p:cNvPr id="3" name="RectangleBG">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nvGrpSpPr>
          <p:cNvPr id="2" name="Angled stripes">
            <a:extLst>
              <a:ext uri="{FF2B5EF4-FFF2-40B4-BE49-F238E27FC236}">
                <a16:creationId xmlns:a16="http://schemas.microsoft.com/office/drawing/2014/main" id="{059B2BEC-F583-4FA5-9AE6-57357B295FCE}"/>
              </a:ext>
            </a:extLst>
          </p:cNvPr>
          <p:cNvGrpSpPr/>
          <p:nvPr userDrawn="1"/>
        </p:nvGrpSpPr>
        <p:grpSpPr>
          <a:xfrm>
            <a:off x="3254052" y="0"/>
            <a:ext cx="8937950" cy="6858002"/>
            <a:chOff x="3254052" y="0"/>
            <a:chExt cx="8937950" cy="6858002"/>
          </a:xfrm>
        </p:grpSpPr>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1" name="strTitlePosition">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12" name="strSectionNumber">
            <a:extLst>
              <a:ext uri="{FF2B5EF4-FFF2-40B4-BE49-F238E27FC236}">
                <a16:creationId xmlns:a16="http://schemas.microsoft.com/office/drawing/2014/main" id="{0C5D9885-14DA-471D-BC6C-44EF4CFAA74B}"/>
              </a:ext>
            </a:extLst>
          </p:cNvPr>
          <p:cNvSpPr>
            <a:spLocks noGrp="1"/>
          </p:cNvSpPr>
          <p:nvPr>
            <p:ph type="body" sz="quarter" idx="15" hasCustomPrompt="1"/>
          </p:nvPr>
        </p:nvSpPr>
        <p:spPr>
          <a:xfrm>
            <a:off x="414980" y="3835800"/>
            <a:ext cx="7560000" cy="503590"/>
          </a:xfrm>
        </p:spPr>
        <p:txBody>
          <a:bodyPr lIns="72000" tIns="36000" rIns="72000" bIns="36000">
            <a:noAutofit/>
          </a:bodyPr>
          <a:lstStyle>
            <a:lvl1pPr>
              <a:defRPr sz="2800" b="1">
                <a:solidFill>
                  <a:schemeClr val="bg2"/>
                </a:solidFill>
              </a:defRPr>
            </a:lvl1pPr>
          </a:lstStyle>
          <a:p>
            <a:pPr lvl="0"/>
            <a:r>
              <a:rPr lang="en-US" noProof="0" dirty="0"/>
              <a:t>0.0 Section Title</a:t>
            </a:r>
          </a:p>
        </p:txBody>
      </p:sp>
      <p:sp>
        <p:nvSpPr>
          <p:cNvPr id="15" name="strSubsectionTitle">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60000"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4" name="strSlideNumber">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36106620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image" Target="../media/image5.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3.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51F5451-CC20-46A2-802F-F9D60C2A61E7}"/>
              </a:ext>
            </a:extLst>
          </p:cNvPr>
          <p:cNvSpPr>
            <a:spLocks noGrp="1"/>
          </p:cNvSpPr>
          <p:nvPr>
            <p:ph type="title"/>
          </p:nvPr>
        </p:nvSpPr>
        <p:spPr>
          <a:xfrm>
            <a:off x="407988" y="368300"/>
            <a:ext cx="11376023" cy="387798"/>
          </a:xfrm>
          <a:prstGeom prst="rect">
            <a:avLst/>
          </a:prstGeom>
        </p:spPr>
        <p:txBody>
          <a:bodyPr vert="horz" wrap="square" lIns="0" tIns="0" rIns="0" bIns="0" rtlCol="0" anchor="t">
            <a:noAutofit/>
          </a:bodyPr>
          <a:lstStyle/>
          <a:p>
            <a:r>
              <a:rPr lang="en-US" noProof="0" dirty="0"/>
              <a:t>TITLE OF THE SLIDE – one line</a:t>
            </a:r>
          </a:p>
        </p:txBody>
      </p:sp>
      <p:sp>
        <p:nvSpPr>
          <p:cNvPr id="3" name="Text">
            <a:extLst>
              <a:ext uri="{FF2B5EF4-FFF2-40B4-BE49-F238E27FC236}">
                <a16:creationId xmlns:a16="http://schemas.microsoft.com/office/drawing/2014/main" id="{41F54BE0-878D-4EDE-9290-206FC15489D4}"/>
              </a:ext>
            </a:extLst>
          </p:cNvPr>
          <p:cNvSpPr>
            <a:spLocks noGrp="1"/>
          </p:cNvSpPr>
          <p:nvPr>
            <p:ph type="body" idx="1"/>
          </p:nvPr>
        </p:nvSpPr>
        <p:spPr>
          <a:xfrm>
            <a:off x="411892" y="1196975"/>
            <a:ext cx="11372119" cy="4662805"/>
          </a:xfrm>
          <a:prstGeom prst="rect">
            <a:avLst/>
          </a:prstGeom>
        </p:spPr>
        <p:txBody>
          <a:bodyPr vert="horz" lIns="0" tIns="0" rIns="0" bIns="0" rtlCol="0">
            <a:noAutofit/>
          </a:bodyPr>
          <a:lstStyle/>
          <a:p>
            <a:pPr lvl="0"/>
            <a:r>
              <a:rPr lang="en-US" noProof="0" dirty="0"/>
              <a:t>Click to change the text styles on the slide master</a:t>
            </a:r>
          </a:p>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SlideNumber">
            <a:extLst>
              <a:ext uri="{FF2B5EF4-FFF2-40B4-BE49-F238E27FC236}">
                <a16:creationId xmlns:a16="http://schemas.microsoft.com/office/drawing/2014/main" id="{82FC3E58-D3FF-4715-9A44-E12BDE0AE046}"/>
              </a:ext>
            </a:extLst>
          </p:cNvPr>
          <p:cNvSpPr>
            <a:spLocks noGrp="1"/>
          </p:cNvSpPr>
          <p:nvPr>
            <p:ph type="sldNum" sz="quarter" idx="4"/>
          </p:nvPr>
        </p:nvSpPr>
        <p:spPr>
          <a:xfrm>
            <a:off x="407988" y="6200775"/>
            <a:ext cx="413543" cy="396875"/>
          </a:xfrm>
          <a:prstGeom prst="rect">
            <a:avLst/>
          </a:prstGeom>
        </p:spPr>
        <p:txBody>
          <a:bodyPr vert="horz" lIns="0" tIns="0" rIns="108000" bIns="0" rtlCol="0" anchor="ctr"/>
          <a:lstStyle>
            <a:lvl1pPr algn="r">
              <a:defRPr sz="900" b="1">
                <a:solidFill>
                  <a:schemeClr val="bg2">
                    <a:lumMod val="75000"/>
                  </a:schemeClr>
                </a:solidFill>
                <a:latin typeface="+mj-lt"/>
              </a:defRPr>
            </a:lvl1pPr>
          </a:lstStyle>
          <a:p>
            <a:fld id="{D61AABEC-672F-4B68-B914-690DA978312C}" type="slidenum">
              <a:rPr lang="en-US" smtClean="0"/>
              <a:pPr/>
              <a:t>‹#›</a:t>
            </a:fld>
            <a:r>
              <a:rPr lang="en-US" dirty="0"/>
              <a:t> </a:t>
            </a:r>
          </a:p>
        </p:txBody>
      </p:sp>
      <p:cxnSp>
        <p:nvCxnSpPr>
          <p:cNvPr id="9" name="SlideNumberSeparatorLine">
            <a:extLst>
              <a:ext uri="{FF2B5EF4-FFF2-40B4-BE49-F238E27FC236}">
                <a16:creationId xmlns:a16="http://schemas.microsoft.com/office/drawing/2014/main" id="{C7DC0234-AE1D-4E4F-9B36-FF599DB26CBB}"/>
              </a:ext>
            </a:extLst>
          </p:cNvPr>
          <p:cNvCxnSpPr/>
          <p:nvPr userDrawn="1"/>
        </p:nvCxnSpPr>
        <p:spPr>
          <a:xfrm>
            <a:off x="821531" y="6200775"/>
            <a:ext cx="0" cy="3968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 name="(c) Ipsos">
            <a:extLst>
              <a:ext uri="{FF2B5EF4-FFF2-40B4-BE49-F238E27FC236}">
                <a16:creationId xmlns:a16="http://schemas.microsoft.com/office/drawing/2014/main" id="{6ECE0C9D-E763-459F-AAF6-674D699E302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2">
                    <a:lumMod val="75000"/>
                  </a:schemeClr>
                </a:solidFill>
              </a:rPr>
              <a:t>© Ipsos</a:t>
            </a:r>
          </a:p>
        </p:txBody>
      </p:sp>
      <p:pic>
        <p:nvPicPr>
          <p:cNvPr id="8" name="Ipsos Logo">
            <a:extLst>
              <a:ext uri="{FF2B5EF4-FFF2-40B4-BE49-F238E27FC236}">
                <a16:creationId xmlns:a16="http://schemas.microsoft.com/office/drawing/2014/main" id="{3A546AA0-C6B3-42C0-8186-4347A8A4C660}"/>
              </a:ext>
            </a:extLst>
          </p:cNvPr>
          <p:cNvPicPr>
            <a:picLocks noChangeAspect="1"/>
          </p:cNvPicPr>
          <p:nvPr userDrawn="1"/>
        </p:nvPicPr>
        <p:blipFill>
          <a:blip r:embed="rId54" cstate="print">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pic>
        <p:nvPicPr>
          <p:cNvPr id="13" name="Revision_img_PEND" descr="A close up of a clock&#10;&#10;Description automatically generated" hidden="1">
            <a:extLst>
              <a:ext uri="{FF2B5EF4-FFF2-40B4-BE49-F238E27FC236}">
                <a16:creationId xmlns:a16="http://schemas.microsoft.com/office/drawing/2014/main" id="{D4C9F46A-6DF0-4394-AED2-E263E37EA84E}"/>
              </a:ext>
            </a:extLst>
          </p:cNvPr>
          <p:cNvPicPr>
            <a:picLocks noChangeAspect="1"/>
          </p:cNvPicPr>
          <p:nvPr userDrawn="1"/>
        </p:nvPicPr>
        <p:blipFill>
          <a:blip r:embed="rId55">
            <a:extLst>
              <a:ext uri="{28A0092B-C50C-407E-A947-70E740481C1C}">
                <a14:useLocalDpi xmlns:a14="http://schemas.microsoft.com/office/drawing/2010/main" val="0"/>
              </a:ext>
            </a:extLst>
          </a:blip>
          <a:stretch>
            <a:fillRect/>
          </a:stretch>
        </p:blipFill>
        <p:spPr>
          <a:xfrm>
            <a:off x="11472000" y="0"/>
            <a:ext cx="720000" cy="720000"/>
          </a:xfrm>
          <a:prstGeom prst="rect">
            <a:avLst/>
          </a:prstGeom>
        </p:spPr>
      </p:pic>
      <p:pic>
        <p:nvPicPr>
          <p:cNvPr id="15" name="Revision_img_OK" descr="A picture containing object, clock&#10;&#10;Description automatically generated" hidden="1">
            <a:extLst>
              <a:ext uri="{FF2B5EF4-FFF2-40B4-BE49-F238E27FC236}">
                <a16:creationId xmlns:a16="http://schemas.microsoft.com/office/drawing/2014/main" id="{FD17A96F-4177-435A-9D24-55F9479D5AF7}"/>
              </a:ext>
            </a:extLst>
          </p:cNvPr>
          <p:cNvPicPr>
            <a:picLocks noChangeAspect="1"/>
          </p:cNvPicPr>
          <p:nvPr userDrawn="1"/>
        </p:nvPicPr>
        <p:blipFill>
          <a:blip r:embed="rId56">
            <a:extLst>
              <a:ext uri="{28A0092B-C50C-407E-A947-70E740481C1C}">
                <a14:useLocalDpi xmlns:a14="http://schemas.microsoft.com/office/drawing/2010/main" val="0"/>
              </a:ext>
            </a:extLst>
          </a:blip>
          <a:stretch>
            <a:fillRect/>
          </a:stretch>
        </p:blipFill>
        <p:spPr>
          <a:xfrm>
            <a:off x="11472000" y="0"/>
            <a:ext cx="720000" cy="720000"/>
          </a:xfrm>
          <a:prstGeom prst="rect">
            <a:avLst/>
          </a:prstGeom>
        </p:spPr>
      </p:pic>
      <p:pic>
        <p:nvPicPr>
          <p:cNvPr id="16" name="Revision_img_REV" descr="A picture containing object, clock&#10;&#10;Description automatically generated" hidden="1">
            <a:extLst>
              <a:ext uri="{FF2B5EF4-FFF2-40B4-BE49-F238E27FC236}">
                <a16:creationId xmlns:a16="http://schemas.microsoft.com/office/drawing/2014/main" id="{04539F39-F53E-48C7-809D-A8C6001EAF80}"/>
              </a:ext>
            </a:extLst>
          </p:cNvPr>
          <p:cNvPicPr>
            <a:picLocks noChangeAspect="1"/>
          </p:cNvPicPr>
          <p:nvPr userDrawn="1"/>
        </p:nvPicPr>
        <p:blipFill>
          <a:blip r:embed="rId57">
            <a:extLst>
              <a:ext uri="{28A0092B-C50C-407E-A947-70E740481C1C}">
                <a14:useLocalDpi xmlns:a14="http://schemas.microsoft.com/office/drawing/2010/main" val="0"/>
              </a:ext>
            </a:extLst>
          </a:blip>
          <a:stretch>
            <a:fillRect/>
          </a:stretch>
        </p:blipFill>
        <p:spPr>
          <a:xfrm>
            <a:off x="11472000" y="0"/>
            <a:ext cx="720000" cy="720000"/>
          </a:xfrm>
          <a:prstGeom prst="rect">
            <a:avLst/>
          </a:prstGeom>
        </p:spPr>
      </p:pic>
      <p:sp>
        <p:nvSpPr>
          <p:cNvPr id="14" name="strVersion" hidden="1">
            <a:extLst>
              <a:ext uri="{FF2B5EF4-FFF2-40B4-BE49-F238E27FC236}">
                <a16:creationId xmlns:a16="http://schemas.microsoft.com/office/drawing/2014/main" id="{0A9555C8-BBE0-4755-B53A-AA4D731412DA}"/>
              </a:ext>
            </a:extLst>
          </p:cNvPr>
          <p:cNvSpPr txBox="1"/>
          <p:nvPr userDrawn="1"/>
        </p:nvSpPr>
        <p:spPr>
          <a:xfrm>
            <a:off x="12192000" y="-359807"/>
            <a:ext cx="771525" cy="369332"/>
          </a:xfrm>
          <a:prstGeom prst="rect">
            <a:avLst/>
          </a:prstGeom>
          <a:noFill/>
        </p:spPr>
        <p:txBody>
          <a:bodyPr wrap="square" rtlCol="0">
            <a:spAutoFit/>
          </a:bodyPr>
          <a:lstStyle/>
          <a:p>
            <a:r>
              <a:rPr lang="en-US" dirty="0"/>
              <a:t>V2</a:t>
            </a:r>
          </a:p>
        </p:txBody>
      </p:sp>
      <p:graphicFrame>
        <p:nvGraphicFramePr>
          <p:cNvPr id="54" name="IpsosToolbar_Briefing_Slide" hidden="1">
            <a:extLst>
              <a:ext uri="{FF2B5EF4-FFF2-40B4-BE49-F238E27FC236}">
                <a16:creationId xmlns:a16="http://schemas.microsoft.com/office/drawing/2014/main" id="{C80E0670-123C-47E8-9B9E-5801907AFDC8}"/>
              </a:ext>
            </a:extLst>
          </p:cNvPr>
          <p:cNvGraphicFramePr>
            <a:graphicFrameLocks noGrp="1"/>
          </p:cNvGraphicFramePr>
          <p:nvPr userDrawn="1">
            <p:extLst>
              <p:ext uri="{D42A27DB-BD31-4B8C-83A1-F6EECF244321}">
                <p14:modId xmlns:p14="http://schemas.microsoft.com/office/powerpoint/2010/main" val="1498477318"/>
              </p:ext>
            </p:extLst>
          </p:nvPr>
        </p:nvGraphicFramePr>
        <p:xfrm>
          <a:off x="0" y="679520"/>
          <a:ext cx="4320000" cy="144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a:txBody>
                    <a:bodyPr/>
                    <a:lstStyle/>
                    <a:p>
                      <a:r>
                        <a:rPr lang="en-US" sz="900" b="1" dirty="0">
                          <a:solidFill>
                            <a:srgbClr val="292929"/>
                          </a:solidFill>
                          <a:latin typeface="Arial" panose="020B0604020202020204" pitchFamily="34" charset="0"/>
                          <a:cs typeface="Arial" panose="020B0604020202020204" pitchFamily="34" charset="0"/>
                        </a:rPr>
                        <a:t>Base description (filter)</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anner info</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Table/Question number/title</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reak</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lide/Chart </a:t>
                      </a:r>
                      <a:r>
                        <a:rPr lang="en-US" sz="900" b="0" i="0" dirty="0">
                          <a:solidFill>
                            <a:srgbClr val="292929"/>
                          </a:solidFill>
                          <a:latin typeface="Arial" panose="020B0604020202020204" pitchFamily="34" charset="0"/>
                          <a:cs typeface="Arial" panose="020B0604020202020204" pitchFamily="34" charset="0"/>
                        </a:rPr>
                        <a:t>(if not in library!)</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Ranking</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igs</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292929"/>
                          </a:solidFill>
                          <a:latin typeface="Arial" panose="020B0604020202020204" pitchFamily="34" charset="0"/>
                          <a:cs typeface="Arial" panose="020B0604020202020204" pitchFamily="34" charset="0"/>
                        </a:rPr>
                        <a:t>Extra instruction</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graphicFrame>
        <p:nvGraphicFramePr>
          <p:cNvPr id="55" name="IpsosToolbar_Briefing_General" hidden="1">
            <a:extLst>
              <a:ext uri="{FF2B5EF4-FFF2-40B4-BE49-F238E27FC236}">
                <a16:creationId xmlns:a16="http://schemas.microsoft.com/office/drawing/2014/main" id="{45C3F1D3-B3B2-4570-A046-796763FEA82C}"/>
              </a:ext>
            </a:extLst>
          </p:cNvPr>
          <p:cNvGraphicFramePr>
            <a:graphicFrameLocks noGrp="1"/>
          </p:cNvGraphicFramePr>
          <p:nvPr userDrawn="1">
            <p:extLst>
              <p:ext uri="{D42A27DB-BD31-4B8C-83A1-F6EECF244321}">
                <p14:modId xmlns:p14="http://schemas.microsoft.com/office/powerpoint/2010/main" val="2958374565"/>
              </p:ext>
            </p:extLst>
          </p:nvPr>
        </p:nvGraphicFramePr>
        <p:xfrm>
          <a:off x="0" y="-1"/>
          <a:ext cx="4320000" cy="270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TIMINGS &amp; BATCHES </a:t>
                      </a:r>
                      <a:r>
                        <a:rPr lang="en-GB" sz="900" dirty="0">
                          <a:solidFill>
                            <a:srgbClr val="292929"/>
                          </a:solidFill>
                          <a:latin typeface="Arial" panose="020B0604020202020204" pitchFamily="34" charset="0"/>
                          <a:cs typeface="Arial" panose="020B0604020202020204" pitchFamily="34" charset="0"/>
                        </a:rPr>
                        <a:t>(intermediate deadlines)</a:t>
                      </a:r>
                      <a:r>
                        <a:rPr lang="en-GB" sz="900" b="1" dirty="0">
                          <a:solidFill>
                            <a:srgbClr val="292929"/>
                          </a:solidFill>
                          <a:latin typeface="Arial" panose="020B0604020202020204" pitchFamily="34" charset="0"/>
                          <a:cs typeface="Arial" panose="020B0604020202020204" pitchFamily="34" charset="0"/>
                        </a:rPr>
                        <a:t>:</a:t>
                      </a:r>
                      <a:endParaRPr lang="en-GB" sz="1000" b="1" dirty="0">
                        <a:solidFill>
                          <a:srgbClr val="292929"/>
                        </a:solidFill>
                        <a:latin typeface="Arial" panose="020B0604020202020204" pitchFamily="34" charset="0"/>
                        <a:cs typeface="Arial" panose="020B0604020202020204" pitchFamily="34" charset="0"/>
                      </a:endParaRP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tcPr>
                </a:tc>
                <a:extLst>
                  <a:ext uri="{0D108BD9-81ED-4DB2-BD59-A6C34878D82A}">
                    <a16:rowId xmlns:a16="http://schemas.microsoft.com/office/drawing/2014/main" val="3540381696"/>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First review mom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Batch 1, 2, ...</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Deadline full repor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INFO</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0424747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titl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li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leader</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BRIEFING INSTRUCTIONS</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112063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Overall project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816729115"/>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onclusion layou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77520864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Report languag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362047737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Low base size indica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265250029"/>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Extra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sp>
        <p:nvSpPr>
          <p:cNvPr id="35" name="SigLetters" hidden="1">
            <a:extLst>
              <a:ext uri="{FF2B5EF4-FFF2-40B4-BE49-F238E27FC236}">
                <a16:creationId xmlns:a16="http://schemas.microsoft.com/office/drawing/2014/main" id="{3BA0E86B-8554-4523-6FAE-0975C25EEA98}"/>
              </a:ext>
            </a:extLst>
          </p:cNvPr>
          <p:cNvSpPr txBox="1"/>
          <p:nvPr userDrawn="1"/>
        </p:nvSpPr>
        <p:spPr>
          <a:xfrm>
            <a:off x="12269749" y="592722"/>
            <a:ext cx="175295" cy="184666"/>
          </a:xfrm>
          <a:prstGeom prst="rect">
            <a:avLst/>
          </a:prstGeom>
          <a:noFill/>
        </p:spPr>
        <p:txBody>
          <a:bodyPr wrap="none" lIns="36000" tIns="0" rIns="36000" bIns="0" rtlCol="0" anchor="ctr">
            <a:spAutoFit/>
          </a:bodyPr>
          <a:lstStyle/>
          <a:p>
            <a:pPr algn="l"/>
            <a:r>
              <a:rPr lang="en-US" sz="1200" dirty="0">
                <a:solidFill>
                  <a:schemeClr val="bg2"/>
                </a:solidFill>
              </a:rPr>
              <a:t>A</a:t>
            </a:r>
          </a:p>
        </p:txBody>
      </p:sp>
      <p:sp>
        <p:nvSpPr>
          <p:cNvPr id="52" name="SigLettersWhite" hidden="1">
            <a:extLst>
              <a:ext uri="{FF2B5EF4-FFF2-40B4-BE49-F238E27FC236}">
                <a16:creationId xmlns:a16="http://schemas.microsoft.com/office/drawing/2014/main" id="{31043246-BCA8-4977-17DF-34CA3BC51A6C}"/>
              </a:ext>
            </a:extLst>
          </p:cNvPr>
          <p:cNvSpPr txBox="1"/>
          <p:nvPr userDrawn="1"/>
        </p:nvSpPr>
        <p:spPr>
          <a:xfrm>
            <a:off x="12567513" y="592722"/>
            <a:ext cx="175295" cy="184666"/>
          </a:xfrm>
          <a:prstGeom prst="rect">
            <a:avLst/>
          </a:prstGeom>
          <a:noFill/>
        </p:spPr>
        <p:txBody>
          <a:bodyPr wrap="none" lIns="36000" tIns="0" rIns="36000" bIns="0" rtlCol="0" anchor="ctr">
            <a:spAutoFit/>
          </a:bodyPr>
          <a:lstStyle/>
          <a:p>
            <a:pPr algn="ctr"/>
            <a:r>
              <a:rPr lang="en-US" sz="1200" dirty="0">
                <a:solidFill>
                  <a:schemeClr val="bg1"/>
                </a:solidFill>
              </a:rPr>
              <a:t>A</a:t>
            </a:r>
          </a:p>
        </p:txBody>
      </p:sp>
      <p:grpSp>
        <p:nvGrpSpPr>
          <p:cNvPr id="53" name="SigEvoPos" hidden="1">
            <a:extLst>
              <a:ext uri="{FF2B5EF4-FFF2-40B4-BE49-F238E27FC236}">
                <a16:creationId xmlns:a16="http://schemas.microsoft.com/office/drawing/2014/main" id="{C728E7A2-EBFA-AE7D-1176-128A17993FB7}"/>
              </a:ext>
            </a:extLst>
          </p:cNvPr>
          <p:cNvGrpSpPr/>
          <p:nvPr userDrawn="1"/>
        </p:nvGrpSpPr>
        <p:grpSpPr>
          <a:xfrm>
            <a:off x="12251885" y="0"/>
            <a:ext cx="216000" cy="216000"/>
            <a:chOff x="7716328" y="2107098"/>
            <a:chExt cx="216000" cy="216000"/>
          </a:xfrm>
        </p:grpSpPr>
        <p:sp>
          <p:nvSpPr>
            <p:cNvPr id="56" name="Oval 55">
              <a:extLst>
                <a:ext uri="{FF2B5EF4-FFF2-40B4-BE49-F238E27FC236}">
                  <a16:creationId xmlns:a16="http://schemas.microsoft.com/office/drawing/2014/main" id="{401D6C16-868D-7AC1-6052-4051C639EE9B}"/>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57" name="Group 56">
              <a:extLst>
                <a:ext uri="{FF2B5EF4-FFF2-40B4-BE49-F238E27FC236}">
                  <a16:creationId xmlns:a16="http://schemas.microsoft.com/office/drawing/2014/main" id="{A08395E6-8587-0AA5-69D4-5A0E99696CF4}"/>
                </a:ext>
              </a:extLst>
            </p:cNvPr>
            <p:cNvGrpSpPr>
              <a:grpSpLocks noChangeAspect="1"/>
            </p:cNvGrpSpPr>
            <p:nvPr/>
          </p:nvGrpSpPr>
          <p:grpSpPr>
            <a:xfrm rot="18900000">
              <a:off x="7758327" y="2179098"/>
              <a:ext cx="132003" cy="72000"/>
              <a:chOff x="10144608" y="897887"/>
              <a:chExt cx="326542" cy="178110"/>
            </a:xfrm>
          </p:grpSpPr>
          <p:sp>
            <p:nvSpPr>
              <p:cNvPr id="58" name="Line 34">
                <a:extLst>
                  <a:ext uri="{FF2B5EF4-FFF2-40B4-BE49-F238E27FC236}">
                    <a16:creationId xmlns:a16="http://schemas.microsoft.com/office/drawing/2014/main" id="{D4B9025D-BE3B-2227-60B9-5EA4119552E7}"/>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9" name="Rectangle 11">
                <a:extLst>
                  <a:ext uri="{FF2B5EF4-FFF2-40B4-BE49-F238E27FC236}">
                    <a16:creationId xmlns:a16="http://schemas.microsoft.com/office/drawing/2014/main" id="{A2851737-2BA6-B7A2-47B3-C0F74D306718}"/>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60" name="SigEvoNeg" hidden="1">
            <a:extLst>
              <a:ext uri="{FF2B5EF4-FFF2-40B4-BE49-F238E27FC236}">
                <a16:creationId xmlns:a16="http://schemas.microsoft.com/office/drawing/2014/main" id="{07BE14B7-E825-48D3-1604-6EFC81CE3370}"/>
              </a:ext>
            </a:extLst>
          </p:cNvPr>
          <p:cNvGrpSpPr/>
          <p:nvPr userDrawn="1"/>
        </p:nvGrpSpPr>
        <p:grpSpPr>
          <a:xfrm>
            <a:off x="12547160" y="0"/>
            <a:ext cx="216000" cy="216000"/>
            <a:chOff x="8011603" y="2107098"/>
            <a:chExt cx="216000" cy="216000"/>
          </a:xfrm>
        </p:grpSpPr>
        <p:sp>
          <p:nvSpPr>
            <p:cNvPr id="61" name="Oval 60">
              <a:extLst>
                <a:ext uri="{FF2B5EF4-FFF2-40B4-BE49-F238E27FC236}">
                  <a16:creationId xmlns:a16="http://schemas.microsoft.com/office/drawing/2014/main" id="{767F0E42-384A-8EF3-D1EE-4CE446711BBC}"/>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62" name="Group 61">
              <a:extLst>
                <a:ext uri="{FF2B5EF4-FFF2-40B4-BE49-F238E27FC236}">
                  <a16:creationId xmlns:a16="http://schemas.microsoft.com/office/drawing/2014/main" id="{2EB888FE-67A9-D453-F896-823BF22F7945}"/>
                </a:ext>
              </a:extLst>
            </p:cNvPr>
            <p:cNvGrpSpPr>
              <a:grpSpLocks noChangeAspect="1"/>
            </p:cNvGrpSpPr>
            <p:nvPr/>
          </p:nvGrpSpPr>
          <p:grpSpPr>
            <a:xfrm rot="2700000">
              <a:off x="8053602" y="2179098"/>
              <a:ext cx="132003" cy="72000"/>
              <a:chOff x="10144608" y="897887"/>
              <a:chExt cx="326542" cy="178110"/>
            </a:xfrm>
          </p:grpSpPr>
          <p:sp>
            <p:nvSpPr>
              <p:cNvPr id="63" name="Line 34">
                <a:extLst>
                  <a:ext uri="{FF2B5EF4-FFF2-40B4-BE49-F238E27FC236}">
                    <a16:creationId xmlns:a16="http://schemas.microsoft.com/office/drawing/2014/main" id="{624A21B0-59C8-A66A-0483-F9A54660DEB9}"/>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4" name="Rectangle 11">
                <a:extLst>
                  <a:ext uri="{FF2B5EF4-FFF2-40B4-BE49-F238E27FC236}">
                    <a16:creationId xmlns:a16="http://schemas.microsoft.com/office/drawing/2014/main" id="{CF650A95-724C-F40B-78F6-D7C002EEADCE}"/>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65" name="SigEvoNeutral1" hidden="1">
            <a:extLst>
              <a:ext uri="{FF2B5EF4-FFF2-40B4-BE49-F238E27FC236}">
                <a16:creationId xmlns:a16="http://schemas.microsoft.com/office/drawing/2014/main" id="{2566F9FB-EF4B-C7B8-04A1-00A12BBF548C}"/>
              </a:ext>
            </a:extLst>
          </p:cNvPr>
          <p:cNvGrpSpPr/>
          <p:nvPr userDrawn="1"/>
        </p:nvGrpSpPr>
        <p:grpSpPr>
          <a:xfrm>
            <a:off x="12249396" y="293335"/>
            <a:ext cx="216000" cy="216000"/>
            <a:chOff x="4721041" y="2107098"/>
            <a:chExt cx="216000" cy="216000"/>
          </a:xfrm>
        </p:grpSpPr>
        <p:sp>
          <p:nvSpPr>
            <p:cNvPr id="66" name="Oval 65">
              <a:extLst>
                <a:ext uri="{FF2B5EF4-FFF2-40B4-BE49-F238E27FC236}">
                  <a16:creationId xmlns:a16="http://schemas.microsoft.com/office/drawing/2014/main" id="{C357316E-9DBC-728C-AC07-DF6C20C7A199}"/>
                </a:ext>
              </a:extLst>
            </p:cNvPr>
            <p:cNvSpPr/>
            <p:nvPr/>
          </p:nvSpPr>
          <p:spPr>
            <a:xfrm>
              <a:off x="4721041" y="2107098"/>
              <a:ext cx="216000" cy="216000"/>
            </a:xfrm>
            <a:prstGeom prst="ellipse">
              <a:avLst/>
            </a:prstGeom>
            <a:gradFill flip="none" rotWithShape="1">
              <a:gsLst>
                <a:gs pos="50000">
                  <a:schemeClr val="tx1">
                    <a:lumMod val="75000"/>
                    <a:lumOff val="25000"/>
                  </a:schemeClr>
                </a:gs>
                <a:gs pos="50000">
                  <a:schemeClr val="tx1">
                    <a:lumMod val="90000"/>
                    <a:lumOff val="10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67" name="Group 66">
              <a:extLst>
                <a:ext uri="{FF2B5EF4-FFF2-40B4-BE49-F238E27FC236}">
                  <a16:creationId xmlns:a16="http://schemas.microsoft.com/office/drawing/2014/main" id="{A59E2766-64E5-E0AF-EC48-E61A3F0F73DA}"/>
                </a:ext>
              </a:extLst>
            </p:cNvPr>
            <p:cNvGrpSpPr>
              <a:grpSpLocks noChangeAspect="1"/>
            </p:cNvGrpSpPr>
            <p:nvPr/>
          </p:nvGrpSpPr>
          <p:grpSpPr>
            <a:xfrm rot="18900000">
              <a:off x="4763040" y="2179098"/>
              <a:ext cx="132003" cy="72000"/>
              <a:chOff x="10144608" y="897887"/>
              <a:chExt cx="326542" cy="178110"/>
            </a:xfrm>
          </p:grpSpPr>
          <p:sp>
            <p:nvSpPr>
              <p:cNvPr id="68" name="Line 34">
                <a:extLst>
                  <a:ext uri="{FF2B5EF4-FFF2-40B4-BE49-F238E27FC236}">
                    <a16:creationId xmlns:a16="http://schemas.microsoft.com/office/drawing/2014/main" id="{B3021CFB-34C4-8201-A067-D22E640E6859}"/>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9" name="Rectangle 11">
                <a:extLst>
                  <a:ext uri="{FF2B5EF4-FFF2-40B4-BE49-F238E27FC236}">
                    <a16:creationId xmlns:a16="http://schemas.microsoft.com/office/drawing/2014/main" id="{664A00EE-A68B-D663-5575-A19CD823DEB8}"/>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70" name="SigEvoNeutral2" hidden="1">
            <a:extLst>
              <a:ext uri="{FF2B5EF4-FFF2-40B4-BE49-F238E27FC236}">
                <a16:creationId xmlns:a16="http://schemas.microsoft.com/office/drawing/2014/main" id="{1C116878-11E0-1889-E95A-E8CC3A5C23FA}"/>
              </a:ext>
            </a:extLst>
          </p:cNvPr>
          <p:cNvGrpSpPr/>
          <p:nvPr userDrawn="1"/>
        </p:nvGrpSpPr>
        <p:grpSpPr>
          <a:xfrm>
            <a:off x="12547160" y="293335"/>
            <a:ext cx="216000" cy="216000"/>
            <a:chOff x="5016316" y="2107098"/>
            <a:chExt cx="216000" cy="216000"/>
          </a:xfrm>
        </p:grpSpPr>
        <p:sp>
          <p:nvSpPr>
            <p:cNvPr id="71" name="Oval 70">
              <a:extLst>
                <a:ext uri="{FF2B5EF4-FFF2-40B4-BE49-F238E27FC236}">
                  <a16:creationId xmlns:a16="http://schemas.microsoft.com/office/drawing/2014/main" id="{F6B7A2F9-DB76-F09D-D18F-7258AB814784}"/>
                </a:ext>
              </a:extLst>
            </p:cNvPr>
            <p:cNvSpPr/>
            <p:nvPr/>
          </p:nvSpPr>
          <p:spPr>
            <a:xfrm rot="5400000">
              <a:off x="5016316" y="2107098"/>
              <a:ext cx="216000" cy="216000"/>
            </a:xfrm>
            <a:prstGeom prst="ellipse">
              <a:avLst/>
            </a:prstGeom>
            <a:gradFill flip="none" rotWithShape="1">
              <a:gsLst>
                <a:gs pos="50000">
                  <a:schemeClr val="tx1">
                    <a:lumMod val="75000"/>
                    <a:lumOff val="25000"/>
                  </a:schemeClr>
                </a:gs>
                <a:gs pos="50000">
                  <a:schemeClr val="tx1">
                    <a:lumMod val="90000"/>
                    <a:lumOff val="10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72" name="Group 71">
              <a:extLst>
                <a:ext uri="{FF2B5EF4-FFF2-40B4-BE49-F238E27FC236}">
                  <a16:creationId xmlns:a16="http://schemas.microsoft.com/office/drawing/2014/main" id="{507799D0-DAC4-2D81-A8E2-AB079A861B7A}"/>
                </a:ext>
              </a:extLst>
            </p:cNvPr>
            <p:cNvGrpSpPr>
              <a:grpSpLocks noChangeAspect="1"/>
            </p:cNvGrpSpPr>
            <p:nvPr/>
          </p:nvGrpSpPr>
          <p:grpSpPr>
            <a:xfrm rot="2700000">
              <a:off x="5058315" y="2179098"/>
              <a:ext cx="132003" cy="72000"/>
              <a:chOff x="10144608" y="897887"/>
              <a:chExt cx="326542" cy="178110"/>
            </a:xfrm>
          </p:grpSpPr>
          <p:sp>
            <p:nvSpPr>
              <p:cNvPr id="73" name="Line 34">
                <a:extLst>
                  <a:ext uri="{FF2B5EF4-FFF2-40B4-BE49-F238E27FC236}">
                    <a16:creationId xmlns:a16="http://schemas.microsoft.com/office/drawing/2014/main" id="{A886F998-C9DD-7C38-3F5D-578424E37F9F}"/>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4" name="Rectangle 11">
                <a:extLst>
                  <a:ext uri="{FF2B5EF4-FFF2-40B4-BE49-F238E27FC236}">
                    <a16:creationId xmlns:a16="http://schemas.microsoft.com/office/drawing/2014/main" id="{CAB2319E-7FA1-5275-AAD7-14BE16513C61}"/>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sp>
        <p:nvSpPr>
          <p:cNvPr id="75" name="LowBase" hidden="1">
            <a:extLst>
              <a:ext uri="{FF2B5EF4-FFF2-40B4-BE49-F238E27FC236}">
                <a16:creationId xmlns:a16="http://schemas.microsoft.com/office/drawing/2014/main" id="{FA03E863-4F45-C30F-C291-AA963AC4E15D}"/>
              </a:ext>
            </a:extLst>
          </p:cNvPr>
          <p:cNvSpPr txBox="1"/>
          <p:nvPr userDrawn="1"/>
        </p:nvSpPr>
        <p:spPr>
          <a:xfrm>
            <a:off x="12827705" y="608111"/>
            <a:ext cx="122397" cy="153888"/>
          </a:xfrm>
          <a:prstGeom prst="rect">
            <a:avLst/>
          </a:prstGeom>
        </p:spPr>
        <p:txBody>
          <a:bodyPr vert="horz" wrap="none" lIns="36000" tIns="0" rIns="36000" bIns="0" rtlCol="0" anchor="ctr">
            <a:spAutoFit/>
          </a:bodyPr>
          <a:lstStyle/>
          <a:p>
            <a:pPr algn="l"/>
            <a:r>
              <a:rPr lang="en-US" sz="1000" dirty="0">
                <a:solidFill>
                  <a:schemeClr val="accent5"/>
                </a:solidFill>
              </a:rPr>
              <a:t>*</a:t>
            </a:r>
          </a:p>
        </p:txBody>
      </p:sp>
      <p:sp>
        <p:nvSpPr>
          <p:cNvPr id="76" name="LowBaseNote" hidden="1">
            <a:extLst>
              <a:ext uri="{FF2B5EF4-FFF2-40B4-BE49-F238E27FC236}">
                <a16:creationId xmlns:a16="http://schemas.microsoft.com/office/drawing/2014/main" id="{695F6472-DD68-5C83-F158-70E2E4AF95EF}"/>
              </a:ext>
            </a:extLst>
          </p:cNvPr>
          <p:cNvSpPr txBox="1"/>
          <p:nvPr userDrawn="1"/>
        </p:nvSpPr>
        <p:spPr>
          <a:xfrm>
            <a:off x="10352530" y="5960061"/>
            <a:ext cx="1431482" cy="169277"/>
          </a:xfrm>
          <a:prstGeom prst="rect">
            <a:avLst/>
          </a:prstGeom>
        </p:spPr>
        <p:txBody>
          <a:bodyPr vert="horz" wrap="none" lIns="0" tIns="0" rIns="0" bIns="0" rtlCol="0" anchor="b">
            <a:spAutoFit/>
          </a:bodyPr>
          <a:lstStyle/>
          <a:p>
            <a:pPr algn="r"/>
            <a:r>
              <a:rPr lang="nb-NO" sz="1100" b="1" dirty="0">
                <a:solidFill>
                  <a:schemeClr val="accent5"/>
                </a:solidFill>
              </a:rPr>
              <a:t>*Lav grunnstørrelse!</a:t>
            </a:r>
          </a:p>
        </p:txBody>
      </p:sp>
      <p:sp>
        <p:nvSpPr>
          <p:cNvPr id="77" name="BaseTooLow" hidden="1">
            <a:extLst>
              <a:ext uri="{FF2B5EF4-FFF2-40B4-BE49-F238E27FC236}">
                <a16:creationId xmlns:a16="http://schemas.microsoft.com/office/drawing/2014/main" id="{3C3D8E56-0667-28F1-A1C6-036151BCC196}"/>
              </a:ext>
            </a:extLst>
          </p:cNvPr>
          <p:cNvSpPr/>
          <p:nvPr userDrawn="1"/>
        </p:nvSpPr>
        <p:spPr>
          <a:xfrm>
            <a:off x="12269749" y="860775"/>
            <a:ext cx="1080000" cy="1080000"/>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a:solidFill>
                  <a:schemeClr val="tx1">
                    <a:lumMod val="50000"/>
                    <a:lumOff val="50000"/>
                  </a:schemeClr>
                </a:solidFill>
              </a:rPr>
              <a:t>Base too low</a:t>
            </a:r>
          </a:p>
        </p:txBody>
      </p:sp>
      <p:grpSp>
        <p:nvGrpSpPr>
          <p:cNvPr id="78" name="NoteFoot" hidden="1">
            <a:extLst>
              <a:ext uri="{FF2B5EF4-FFF2-40B4-BE49-F238E27FC236}">
                <a16:creationId xmlns:a16="http://schemas.microsoft.com/office/drawing/2014/main" id="{46F46AE7-F0FF-8BA7-CC85-524E46ACD05C}"/>
              </a:ext>
            </a:extLst>
          </p:cNvPr>
          <p:cNvGrpSpPr/>
          <p:nvPr userDrawn="1"/>
        </p:nvGrpSpPr>
        <p:grpSpPr>
          <a:xfrm>
            <a:off x="407988" y="5914897"/>
            <a:ext cx="3386846" cy="226591"/>
            <a:chOff x="3580280" y="5914897"/>
            <a:chExt cx="3386846" cy="226591"/>
          </a:xfrm>
        </p:grpSpPr>
        <p:sp>
          <p:nvSpPr>
            <p:cNvPr id="79" name="Rectangle 78">
              <a:extLst>
                <a:ext uri="{FF2B5EF4-FFF2-40B4-BE49-F238E27FC236}">
                  <a16:creationId xmlns:a16="http://schemas.microsoft.com/office/drawing/2014/main" id="{4C8E6906-BE75-B5AE-054B-A8525DD57BA3}"/>
                </a:ext>
              </a:extLst>
            </p:cNvPr>
            <p:cNvSpPr/>
            <p:nvPr/>
          </p:nvSpPr>
          <p:spPr>
            <a:xfrm>
              <a:off x="3672853" y="5914897"/>
              <a:ext cx="3294273" cy="22659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tIns="36000" rIns="72000" bIns="36000" rtlCol="0" anchor="b">
              <a:spAutoFit/>
            </a:bodyPr>
            <a:lstStyle/>
            <a:p>
              <a:r>
                <a:rPr lang="en-US" sz="1000" dirty="0">
                  <a:solidFill>
                    <a:schemeClr val="bg1">
                      <a:lumMod val="50000"/>
                    </a:schemeClr>
                  </a:solidFill>
                </a:rPr>
                <a:t>[A single line of text here. Lorem ipsum dolor sit </a:t>
              </a:r>
              <a:r>
                <a:rPr lang="en-US" sz="1000" dirty="0" err="1">
                  <a:solidFill>
                    <a:schemeClr val="bg1">
                      <a:lumMod val="50000"/>
                    </a:schemeClr>
                  </a:solidFill>
                </a:rPr>
                <a:t>amet</a:t>
              </a:r>
              <a:r>
                <a:rPr lang="en-US" sz="1000" dirty="0">
                  <a:solidFill>
                    <a:schemeClr val="bg1">
                      <a:lumMod val="50000"/>
                    </a:schemeClr>
                  </a:solidFill>
                </a:rPr>
                <a:t>.]</a:t>
              </a:r>
            </a:p>
          </p:txBody>
        </p:sp>
        <p:grpSp>
          <p:nvGrpSpPr>
            <p:cNvPr id="80" name="Group 79">
              <a:extLst>
                <a:ext uri="{FF2B5EF4-FFF2-40B4-BE49-F238E27FC236}">
                  <a16:creationId xmlns:a16="http://schemas.microsoft.com/office/drawing/2014/main" id="{F9732A67-7BD3-3AA2-772E-7E1374E8F5F2}"/>
                </a:ext>
              </a:extLst>
            </p:cNvPr>
            <p:cNvGrpSpPr/>
            <p:nvPr/>
          </p:nvGrpSpPr>
          <p:grpSpPr>
            <a:xfrm>
              <a:off x="3580280" y="5928668"/>
              <a:ext cx="180000" cy="180000"/>
              <a:chOff x="3084430" y="5367461"/>
              <a:chExt cx="180000" cy="180000"/>
            </a:xfrm>
            <a:effectLst>
              <a:outerShdw dist="25400" dir="2700000" algn="tl" rotWithShape="0">
                <a:schemeClr val="tx1">
                  <a:alpha val="40000"/>
                </a:schemeClr>
              </a:outerShdw>
            </a:effectLst>
          </p:grpSpPr>
          <p:sp>
            <p:nvSpPr>
              <p:cNvPr id="81" name="Ellipse 87">
                <a:extLst>
                  <a:ext uri="{FF2B5EF4-FFF2-40B4-BE49-F238E27FC236}">
                    <a16:creationId xmlns:a16="http://schemas.microsoft.com/office/drawing/2014/main" id="{E822B200-98A7-B2F6-EC67-6BDA73BFBA51}"/>
                  </a:ext>
                </a:extLst>
              </p:cNvPr>
              <p:cNvSpPr/>
              <p:nvPr/>
            </p:nvSpPr>
            <p:spPr>
              <a:xfrm>
                <a:off x="3084430" y="5367461"/>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82" name="Group 81">
                <a:extLst>
                  <a:ext uri="{FF2B5EF4-FFF2-40B4-BE49-F238E27FC236}">
                    <a16:creationId xmlns:a16="http://schemas.microsoft.com/office/drawing/2014/main" id="{C41AB04E-6B19-254A-8358-3155DCB49B7A}"/>
                  </a:ext>
                </a:extLst>
              </p:cNvPr>
              <p:cNvGrpSpPr/>
              <p:nvPr/>
            </p:nvGrpSpPr>
            <p:grpSpPr>
              <a:xfrm>
                <a:off x="3172630" y="5420532"/>
                <a:ext cx="3600" cy="92906"/>
                <a:chOff x="3172630" y="5421189"/>
                <a:chExt cx="3600" cy="92906"/>
              </a:xfrm>
            </p:grpSpPr>
            <p:sp>
              <p:nvSpPr>
                <p:cNvPr id="83" name="Line 37">
                  <a:extLst>
                    <a:ext uri="{FF2B5EF4-FFF2-40B4-BE49-F238E27FC236}">
                      <a16:creationId xmlns:a16="http://schemas.microsoft.com/office/drawing/2014/main" id="{4E82E8A4-0ED1-4650-2B2C-F54B139FD222}"/>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4" name="Oval 38">
                  <a:extLst>
                    <a:ext uri="{FF2B5EF4-FFF2-40B4-BE49-F238E27FC236}">
                      <a16:creationId xmlns:a16="http://schemas.microsoft.com/office/drawing/2014/main" id="{07512544-A89F-419F-8414-EB2DD230CB01}"/>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grpSp>
        <p:nvGrpSpPr>
          <p:cNvPr id="85" name="NoteSide" hidden="1">
            <a:extLst>
              <a:ext uri="{FF2B5EF4-FFF2-40B4-BE49-F238E27FC236}">
                <a16:creationId xmlns:a16="http://schemas.microsoft.com/office/drawing/2014/main" id="{71A8BEB3-B64B-5FC1-4487-B30FA5B2110A}"/>
              </a:ext>
            </a:extLst>
          </p:cNvPr>
          <p:cNvGrpSpPr/>
          <p:nvPr userDrawn="1"/>
        </p:nvGrpSpPr>
        <p:grpSpPr>
          <a:xfrm>
            <a:off x="9696449" y="2130188"/>
            <a:ext cx="2087563" cy="1758901"/>
            <a:chOff x="9696450" y="1976796"/>
            <a:chExt cx="2087563" cy="1758901"/>
          </a:xfrm>
        </p:grpSpPr>
        <p:sp>
          <p:nvSpPr>
            <p:cNvPr id="86" name="Rectangle 85">
              <a:extLst>
                <a:ext uri="{FF2B5EF4-FFF2-40B4-BE49-F238E27FC236}">
                  <a16:creationId xmlns:a16="http://schemas.microsoft.com/office/drawing/2014/main" id="{562BE4FC-1112-B7EF-3F3D-7CA91ED7B844}"/>
                </a:ext>
              </a:extLst>
            </p:cNvPr>
            <p:cNvSpPr/>
            <p:nvPr/>
          </p:nvSpPr>
          <p:spPr>
            <a:xfrm>
              <a:off x="9784080" y="2066797"/>
              <a:ext cx="1999933" cy="1668900"/>
            </a:xfrm>
            <a:prstGeom prst="rect">
              <a:avLst/>
            </a:prstGeom>
            <a:solidFill>
              <a:schemeClr val="tx1">
                <a:lumMod val="10000"/>
                <a:lumOff val="90000"/>
              </a:schemeClr>
            </a:solidFill>
            <a:ln>
              <a:no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72000" bIns="72000" rtlCol="0" anchor="t">
              <a:spAutoFit/>
            </a:bodyPr>
            <a:lstStyle/>
            <a:p>
              <a:r>
                <a:rPr lang="en-US" sz="1100" dirty="0">
                  <a:solidFill>
                    <a:schemeClr val="bg1">
                      <a:lumMod val="50000"/>
                    </a:schemeClr>
                  </a:solidFill>
                </a:rPr>
                <a:t>(A few sentences of text.) Lorem ipsum dolor sit amet, consectetuer adipiscing elit. Maecenas porttitor congue massa. Fusce posuere, magna sed pulvinar </a:t>
              </a:r>
              <a:r>
                <a:rPr lang="en-US" sz="1100" dirty="0" err="1">
                  <a:solidFill>
                    <a:schemeClr val="bg1">
                      <a:lumMod val="50000"/>
                    </a:schemeClr>
                  </a:solidFill>
                </a:rPr>
                <a:t>ultricies</a:t>
              </a:r>
              <a:r>
                <a:rPr lang="en-US" sz="1100" dirty="0">
                  <a:solidFill>
                    <a:schemeClr val="bg1">
                      <a:lumMod val="50000"/>
                    </a:schemeClr>
                  </a:solidFill>
                </a:rPr>
                <a:t>.</a:t>
              </a:r>
            </a:p>
            <a:p>
              <a:endParaRPr lang="en-US" sz="1100" dirty="0">
                <a:solidFill>
                  <a:schemeClr val="bg1">
                    <a:lumMod val="50000"/>
                  </a:schemeClr>
                </a:solidFill>
              </a:endParaRPr>
            </a:p>
            <a:p>
              <a:r>
                <a:rPr lang="en-US" sz="1100" dirty="0">
                  <a:solidFill>
                    <a:schemeClr val="bg1">
                      <a:lumMod val="50000"/>
                    </a:schemeClr>
                  </a:solidFill>
                </a:rPr>
                <a:t>Nunc viverra imperdiet enim. Fusce est. Vivamus a </a:t>
              </a:r>
              <a:r>
                <a:rPr lang="en-US" sz="1100" dirty="0" err="1">
                  <a:solidFill>
                    <a:schemeClr val="bg1">
                      <a:lumMod val="50000"/>
                    </a:schemeClr>
                  </a:solidFill>
                </a:rPr>
                <a:t>tellus</a:t>
              </a:r>
              <a:r>
                <a:rPr lang="en-US" sz="1100" dirty="0">
                  <a:solidFill>
                    <a:schemeClr val="bg1">
                      <a:lumMod val="50000"/>
                    </a:schemeClr>
                  </a:solidFill>
                </a:rPr>
                <a:t>.</a:t>
              </a:r>
            </a:p>
          </p:txBody>
        </p:sp>
        <p:grpSp>
          <p:nvGrpSpPr>
            <p:cNvPr id="87" name="Group 86">
              <a:extLst>
                <a:ext uri="{FF2B5EF4-FFF2-40B4-BE49-F238E27FC236}">
                  <a16:creationId xmlns:a16="http://schemas.microsoft.com/office/drawing/2014/main" id="{96BEA6D9-103A-9FAF-B272-B2F9FF56912A}"/>
                </a:ext>
              </a:extLst>
            </p:cNvPr>
            <p:cNvGrpSpPr/>
            <p:nvPr/>
          </p:nvGrpSpPr>
          <p:grpSpPr>
            <a:xfrm>
              <a:off x="9696450" y="1976796"/>
              <a:ext cx="180000" cy="180000"/>
              <a:chOff x="3084430" y="5376985"/>
              <a:chExt cx="180000" cy="180000"/>
            </a:xfrm>
            <a:effectLst>
              <a:outerShdw dist="25400" dir="2700000" algn="tl" rotWithShape="0">
                <a:schemeClr val="tx1">
                  <a:alpha val="40000"/>
                </a:schemeClr>
              </a:outerShdw>
            </a:effectLst>
          </p:grpSpPr>
          <p:sp>
            <p:nvSpPr>
              <p:cNvPr id="88" name="Ellipse 87">
                <a:extLst>
                  <a:ext uri="{FF2B5EF4-FFF2-40B4-BE49-F238E27FC236}">
                    <a16:creationId xmlns:a16="http://schemas.microsoft.com/office/drawing/2014/main" id="{34A9A337-4EC9-96D5-B370-6AC888DCB828}"/>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89" name="Group 88">
                <a:extLst>
                  <a:ext uri="{FF2B5EF4-FFF2-40B4-BE49-F238E27FC236}">
                    <a16:creationId xmlns:a16="http://schemas.microsoft.com/office/drawing/2014/main" id="{7AE9725E-C16B-E217-B86B-32CD44193A5C}"/>
                  </a:ext>
                </a:extLst>
              </p:cNvPr>
              <p:cNvGrpSpPr/>
              <p:nvPr/>
            </p:nvGrpSpPr>
            <p:grpSpPr>
              <a:xfrm>
                <a:off x="3172630" y="5420532"/>
                <a:ext cx="3600" cy="92906"/>
                <a:chOff x="3172630" y="5421189"/>
                <a:chExt cx="3600" cy="92906"/>
              </a:xfrm>
            </p:grpSpPr>
            <p:sp>
              <p:nvSpPr>
                <p:cNvPr id="90" name="Line 37">
                  <a:extLst>
                    <a:ext uri="{FF2B5EF4-FFF2-40B4-BE49-F238E27FC236}">
                      <a16:creationId xmlns:a16="http://schemas.microsoft.com/office/drawing/2014/main" id="{F999EFAE-8814-50B2-193F-8DE06A29AC04}"/>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1" name="Oval 38">
                  <a:extLst>
                    <a:ext uri="{FF2B5EF4-FFF2-40B4-BE49-F238E27FC236}">
                      <a16:creationId xmlns:a16="http://schemas.microsoft.com/office/drawing/2014/main" id="{B1DEF6B5-8229-5986-6167-228EF3B846C4}"/>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sp>
        <p:nvSpPr>
          <p:cNvPr id="92" name="N/A" hidden="1">
            <a:extLst>
              <a:ext uri="{FF2B5EF4-FFF2-40B4-BE49-F238E27FC236}">
                <a16:creationId xmlns:a16="http://schemas.microsoft.com/office/drawing/2014/main" id="{06B54980-DA33-A3F8-9832-289FBAAF330D}"/>
              </a:ext>
            </a:extLst>
          </p:cNvPr>
          <p:cNvSpPr txBox="1"/>
          <p:nvPr userDrawn="1"/>
        </p:nvSpPr>
        <p:spPr>
          <a:xfrm>
            <a:off x="13034999" y="608111"/>
            <a:ext cx="285903" cy="153888"/>
          </a:xfrm>
          <a:prstGeom prst="rect">
            <a:avLst/>
          </a:prstGeom>
        </p:spPr>
        <p:txBody>
          <a:bodyPr vert="horz" wrap="none" lIns="36000" tIns="0" rIns="36000" bIns="0" rtlCol="0" anchor="ctr">
            <a:spAutoFit/>
          </a:bodyPr>
          <a:lstStyle/>
          <a:p>
            <a:pPr algn="l"/>
            <a:r>
              <a:rPr lang="en-US" sz="1000" dirty="0">
                <a:solidFill>
                  <a:schemeClr val="tx1">
                    <a:lumMod val="50000"/>
                    <a:lumOff val="50000"/>
                  </a:schemeClr>
                </a:solidFill>
              </a:rPr>
              <a:t>N/A</a:t>
            </a: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766" r:id="rId2"/>
    <p:sldLayoutId id="2147483787" r:id="rId3"/>
    <p:sldLayoutId id="2147483664" r:id="rId4"/>
    <p:sldLayoutId id="2147483776" r:id="rId5"/>
    <p:sldLayoutId id="2147483801" r:id="rId6"/>
    <p:sldLayoutId id="2147483651" r:id="rId7"/>
    <p:sldLayoutId id="2147483771" r:id="rId8"/>
    <p:sldLayoutId id="2147483772" r:id="rId9"/>
    <p:sldLayoutId id="2147483767" r:id="rId10"/>
    <p:sldLayoutId id="2147483788" r:id="rId11"/>
    <p:sldLayoutId id="2147483789" r:id="rId12"/>
    <p:sldLayoutId id="2147483683" r:id="rId13"/>
    <p:sldLayoutId id="2147483790" r:id="rId14"/>
    <p:sldLayoutId id="2147483791" r:id="rId15"/>
    <p:sldLayoutId id="2147483684" r:id="rId16"/>
    <p:sldLayoutId id="2147483792" r:id="rId17"/>
    <p:sldLayoutId id="2147483793" r:id="rId18"/>
    <p:sldLayoutId id="2147483707" r:id="rId19"/>
    <p:sldLayoutId id="2147483794" r:id="rId20"/>
    <p:sldLayoutId id="2147483795" r:id="rId21"/>
    <p:sldLayoutId id="2147483685" r:id="rId22"/>
    <p:sldLayoutId id="2147483796" r:id="rId23"/>
    <p:sldLayoutId id="2147483797" r:id="rId24"/>
    <p:sldLayoutId id="2147483764" r:id="rId25"/>
    <p:sldLayoutId id="2147483650" r:id="rId26"/>
    <p:sldLayoutId id="2147483802" r:id="rId27"/>
    <p:sldLayoutId id="2147483784" r:id="rId28"/>
    <p:sldLayoutId id="2147483783" r:id="rId29"/>
    <p:sldLayoutId id="2147483803" r:id="rId30"/>
    <p:sldLayoutId id="2147483804" r:id="rId31"/>
    <p:sldLayoutId id="2147483805" r:id="rId32"/>
    <p:sldLayoutId id="2147483806" r:id="rId33"/>
    <p:sldLayoutId id="2147483765" r:id="rId34"/>
    <p:sldLayoutId id="2147483763" r:id="rId35"/>
    <p:sldLayoutId id="2147483798" r:id="rId36"/>
    <p:sldLayoutId id="2147483786" r:id="rId37"/>
    <p:sldLayoutId id="2147483807" r:id="rId38"/>
    <p:sldLayoutId id="2147483808" r:id="rId39"/>
    <p:sldLayoutId id="2147483809" r:id="rId40"/>
    <p:sldLayoutId id="2147483800" r:id="rId41"/>
    <p:sldLayoutId id="2147483810" r:id="rId42"/>
    <p:sldLayoutId id="2147483655" r:id="rId43"/>
    <p:sldLayoutId id="2147483799" r:id="rId44"/>
    <p:sldLayoutId id="2147483781" r:id="rId45"/>
    <p:sldLayoutId id="2147483779" r:id="rId46"/>
    <p:sldLayoutId id="2147483780" r:id="rId47"/>
    <p:sldLayoutId id="2147483778" r:id="rId48"/>
    <p:sldLayoutId id="2147483777" r:id="rId49"/>
    <p:sldLayoutId id="2147483720" r:id="rId50"/>
    <p:sldLayoutId id="2147483814" r:id="rId51"/>
    <p:sldLayoutId id="2147483815" r:id="rId52"/>
  </p:sldLayoutIdLst>
  <p:hf hdr="0" ftr="0" dt="0"/>
  <p:txStyles>
    <p:titleStyle>
      <a:lvl1pPr algn="l" defTabSz="914400" rtl="0" eaLnBrk="1" latinLnBrk="0" hangingPunct="1">
        <a:lnSpc>
          <a:spcPct val="90000"/>
        </a:lnSpc>
        <a:spcBef>
          <a:spcPct val="0"/>
        </a:spcBef>
        <a:buNone/>
        <a:defRPr sz="2400" b="0" kern="1200" cap="all" spc="0" baseline="0">
          <a:solidFill>
            <a:schemeClr val="bg2"/>
          </a:solidFill>
          <a:latin typeface="+mn-lt"/>
          <a:ea typeface="+mj-ea"/>
          <a:cs typeface="+mj-cs"/>
        </a:defRPr>
      </a:lvl1pPr>
    </p:titleStyle>
    <p:bodyStyle>
      <a:lvl1pPr marL="0" indent="0" algn="l" defTabSz="914400" rtl="0" eaLnBrk="1" latinLnBrk="0" hangingPunct="1">
        <a:lnSpc>
          <a:spcPct val="100000"/>
        </a:lnSpc>
        <a:spcBef>
          <a:spcPts val="800"/>
        </a:spcBef>
        <a:buSzPct val="50000"/>
        <a:buFont typeface="Arial" panose="020B0406020202030204" pitchFamily="34" charset="0"/>
        <a:buNone/>
        <a:defRPr sz="1600" b="0" kern="1200">
          <a:solidFill>
            <a:schemeClr val="tx1"/>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58"/>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2" pos="3840" userDrawn="1">
          <p15:clr>
            <a:srgbClr val="FBAE40"/>
          </p15:clr>
        </p15:guide>
        <p15:guide id="3" pos="257" userDrawn="1">
          <p15:clr>
            <a:srgbClr val="F26B43"/>
          </p15:clr>
        </p15:guide>
        <p15:guide id="4" pos="7423" userDrawn="1">
          <p15:clr>
            <a:srgbClr val="F26B43"/>
          </p15:clr>
        </p15:guide>
        <p15:guide id="5" orient="horz" pos="3906" userDrawn="1">
          <p15:clr>
            <a:srgbClr val="F26B43"/>
          </p15:clr>
        </p15:guide>
        <p15:guide id="6" orient="horz" pos="4156" userDrawn="1">
          <p15:clr>
            <a:srgbClr val="F26B43"/>
          </p15:clr>
        </p15:guide>
        <p15:guide id="7" orient="horz" pos="3861" userDrawn="1">
          <p15:clr>
            <a:srgbClr val="F26B43"/>
          </p15:clr>
        </p15:guide>
        <p15:guide id="8" orient="horz" pos="75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2" Type="http://schemas.openxmlformats.org/officeDocument/2006/relationships/hyperlink" Target="https://www.ipsos.com/" TargetMode="Externa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6.png"/><Relationship Id="rId1" Type="http://schemas.openxmlformats.org/officeDocument/2006/relationships/slideLayout" Target="../slideLayouts/slideLayout30.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6.png"/><Relationship Id="rId1" Type="http://schemas.openxmlformats.org/officeDocument/2006/relationships/slideLayout" Target="../slideLayouts/slideLayout30.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3.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4.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5.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17.pn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trTitle">
            <a:extLst>
              <a:ext uri="{FF2B5EF4-FFF2-40B4-BE49-F238E27FC236}">
                <a16:creationId xmlns:a16="http://schemas.microsoft.com/office/drawing/2014/main" id="{03B6F63B-3C5A-4F3A-8067-2C69A669D3CD}"/>
              </a:ext>
            </a:extLst>
          </p:cNvPr>
          <p:cNvSpPr>
            <a:spLocks noGrp="1"/>
          </p:cNvSpPr>
          <p:nvPr>
            <p:ph type="ctrTitle"/>
          </p:nvPr>
        </p:nvSpPr>
        <p:spPr>
          <a:xfrm>
            <a:off x="407368" y="1645802"/>
            <a:ext cx="7551997" cy="830698"/>
          </a:xfrm>
        </p:spPr>
        <p:txBody>
          <a:bodyPr/>
          <a:lstStyle/>
          <a:p>
            <a:r>
              <a:rPr lang="nb-NO" dirty="0"/>
              <a:t>Barneloven</a:t>
            </a:r>
          </a:p>
        </p:txBody>
      </p:sp>
      <p:sp>
        <p:nvSpPr>
          <p:cNvPr id="3" name="strSubtitle">
            <a:extLst>
              <a:ext uri="{FF2B5EF4-FFF2-40B4-BE49-F238E27FC236}">
                <a16:creationId xmlns:a16="http://schemas.microsoft.com/office/drawing/2014/main" id="{793AF41A-F565-440C-9DDF-052CCC5D3545}"/>
              </a:ext>
            </a:extLst>
          </p:cNvPr>
          <p:cNvSpPr>
            <a:spLocks noGrp="1"/>
          </p:cNvSpPr>
          <p:nvPr>
            <p:ph type="subTitle" idx="1"/>
          </p:nvPr>
        </p:nvSpPr>
        <p:spPr>
          <a:xfrm>
            <a:off x="407368" y="3001503"/>
            <a:ext cx="7551997" cy="427497"/>
          </a:xfrm>
        </p:spPr>
        <p:txBody>
          <a:bodyPr/>
          <a:lstStyle/>
          <a:p>
            <a:r>
              <a:rPr lang="nb-NO" dirty="0"/>
              <a:t>Foreningen 2 Foreldre</a:t>
            </a:r>
          </a:p>
        </p:txBody>
      </p:sp>
      <p:sp>
        <p:nvSpPr>
          <p:cNvPr id="11" name="strDate">
            <a:extLst>
              <a:ext uri="{FF2B5EF4-FFF2-40B4-BE49-F238E27FC236}">
                <a16:creationId xmlns:a16="http://schemas.microsoft.com/office/drawing/2014/main" id="{7FF30BEB-F925-4446-9D0B-87E406C3A5B4}"/>
              </a:ext>
            </a:extLst>
          </p:cNvPr>
          <p:cNvSpPr>
            <a:spLocks noGrp="1"/>
          </p:cNvSpPr>
          <p:nvPr>
            <p:ph type="body" sz="quarter" idx="12"/>
          </p:nvPr>
        </p:nvSpPr>
        <p:spPr>
          <a:xfrm>
            <a:off x="407367" y="4014515"/>
            <a:ext cx="4868017" cy="349702"/>
          </a:xfrm>
        </p:spPr>
        <p:txBody>
          <a:bodyPr/>
          <a:lstStyle/>
          <a:p>
            <a:r>
              <a:rPr lang="nb-NO" dirty="0"/>
              <a:t>Juni 2023</a:t>
            </a:r>
          </a:p>
        </p:txBody>
      </p:sp>
      <p:pic>
        <p:nvPicPr>
          <p:cNvPr id="4" name="Picture 8" descr="No photo description available.">
            <a:extLst>
              <a:ext uri="{FF2B5EF4-FFF2-40B4-BE49-F238E27FC236}">
                <a16:creationId xmlns:a16="http://schemas.microsoft.com/office/drawing/2014/main" id="{05D3AC66-5DDB-8018-0941-D0B0514393D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0539" y="5902231"/>
            <a:ext cx="551195" cy="551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164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trPhone02">
            <a:extLst>
              <a:ext uri="{FF2B5EF4-FFF2-40B4-BE49-F238E27FC236}">
                <a16:creationId xmlns:a16="http://schemas.microsoft.com/office/drawing/2014/main" id="{1D3C217F-BB40-4B3A-B52F-8A1A230C2560}"/>
              </a:ext>
            </a:extLst>
          </p:cNvPr>
          <p:cNvSpPr>
            <a:spLocks noGrp="1"/>
          </p:cNvSpPr>
          <p:nvPr>
            <p:ph type="body" sz="quarter" idx="26"/>
          </p:nvPr>
        </p:nvSpPr>
        <p:spPr/>
        <p:txBody>
          <a:bodyPr/>
          <a:lstStyle/>
          <a:p>
            <a:r>
              <a:rPr lang="nb-NO" dirty="0"/>
              <a:t>+</a:t>
            </a:r>
            <a:r>
              <a:rPr lang="nb-NO" sz="1200" dirty="0">
                <a:solidFill>
                  <a:schemeClr val="bg1"/>
                </a:solidFill>
              </a:rPr>
              <a:t> 47 91</a:t>
            </a:r>
            <a:r>
              <a:rPr lang="nb-NO" dirty="0"/>
              <a:t> 59 07 12</a:t>
            </a:r>
          </a:p>
        </p:txBody>
      </p:sp>
      <p:sp>
        <p:nvSpPr>
          <p:cNvPr id="51" name="strEmail02">
            <a:extLst>
              <a:ext uri="{FF2B5EF4-FFF2-40B4-BE49-F238E27FC236}">
                <a16:creationId xmlns:a16="http://schemas.microsoft.com/office/drawing/2014/main" id="{EBB31F4E-57CF-40D8-8B52-672E49B4EC6D}"/>
              </a:ext>
            </a:extLst>
          </p:cNvPr>
          <p:cNvSpPr>
            <a:spLocks noGrp="1"/>
          </p:cNvSpPr>
          <p:nvPr>
            <p:ph type="body" sz="quarter" idx="27"/>
          </p:nvPr>
        </p:nvSpPr>
        <p:spPr/>
        <p:txBody>
          <a:bodyPr/>
          <a:lstStyle/>
          <a:p>
            <a:pPr marL="4763" defTabSz="914378">
              <a:defRPr/>
            </a:pPr>
            <a:r>
              <a:rPr lang="nb-NO" sz="1200" kern="0" dirty="0">
                <a:solidFill>
                  <a:prstClr val="white"/>
                </a:solidFill>
              </a:rPr>
              <a:t>Ingeborg.Jore@ipsos.com</a:t>
            </a:r>
          </a:p>
        </p:txBody>
      </p:sp>
      <p:sp>
        <p:nvSpPr>
          <p:cNvPr id="71" name="strFunction02">
            <a:extLst>
              <a:ext uri="{FF2B5EF4-FFF2-40B4-BE49-F238E27FC236}">
                <a16:creationId xmlns:a16="http://schemas.microsoft.com/office/drawing/2014/main" id="{782D92F1-DDE9-42A1-A7B2-8F5B606F688F}"/>
              </a:ext>
            </a:extLst>
          </p:cNvPr>
          <p:cNvSpPr>
            <a:spLocks noGrp="1"/>
          </p:cNvSpPr>
          <p:nvPr>
            <p:ph type="body" sz="quarter" idx="28"/>
          </p:nvPr>
        </p:nvSpPr>
        <p:spPr/>
        <p:txBody>
          <a:bodyPr/>
          <a:lstStyle/>
          <a:p>
            <a:pPr marL="4763" defTabSz="914378">
              <a:defRPr/>
            </a:pPr>
            <a:r>
              <a:rPr lang="nb-NO" kern="0" dirty="0">
                <a:solidFill>
                  <a:prstClr val="white"/>
                </a:solidFill>
              </a:rPr>
              <a:t>Senior Research </a:t>
            </a:r>
            <a:r>
              <a:rPr lang="nb-NO" kern="0" dirty="0" err="1">
                <a:solidFill>
                  <a:prstClr val="white"/>
                </a:solidFill>
              </a:rPr>
              <a:t>Executive</a:t>
            </a:r>
            <a:r>
              <a:rPr lang="nb-NO" kern="0" dirty="0">
                <a:solidFill>
                  <a:prstClr val="white"/>
                </a:solidFill>
              </a:rPr>
              <a:t> </a:t>
            </a:r>
            <a:endParaRPr lang="nb-NO" sz="1200" kern="0" dirty="0">
              <a:solidFill>
                <a:prstClr val="white"/>
              </a:solidFill>
            </a:endParaRPr>
          </a:p>
        </p:txBody>
      </p:sp>
      <p:sp>
        <p:nvSpPr>
          <p:cNvPr id="72" name="strName02">
            <a:extLst>
              <a:ext uri="{FF2B5EF4-FFF2-40B4-BE49-F238E27FC236}">
                <a16:creationId xmlns:a16="http://schemas.microsoft.com/office/drawing/2014/main" id="{CFDB09F8-BCFC-4720-A3B2-E836F5277BBB}"/>
              </a:ext>
            </a:extLst>
          </p:cNvPr>
          <p:cNvSpPr>
            <a:spLocks noGrp="1"/>
          </p:cNvSpPr>
          <p:nvPr>
            <p:ph type="body" sz="quarter" idx="29"/>
          </p:nvPr>
        </p:nvSpPr>
        <p:spPr/>
        <p:txBody>
          <a:bodyPr/>
          <a:lstStyle/>
          <a:p>
            <a:pPr marL="4763" defTabSz="914378">
              <a:defRPr/>
            </a:pPr>
            <a:r>
              <a:rPr lang="nb-NO" sz="1600" b="1" kern="0" dirty="0">
                <a:solidFill>
                  <a:prstClr val="white"/>
                </a:solidFill>
              </a:rPr>
              <a:t>Ingeborg Jore</a:t>
            </a:r>
          </a:p>
        </p:txBody>
      </p:sp>
      <p:sp>
        <p:nvSpPr>
          <p:cNvPr id="74" name="strPhone01">
            <a:extLst>
              <a:ext uri="{FF2B5EF4-FFF2-40B4-BE49-F238E27FC236}">
                <a16:creationId xmlns:a16="http://schemas.microsoft.com/office/drawing/2014/main" id="{4CD056B5-A620-4461-BD11-146C8EE68D87}"/>
              </a:ext>
            </a:extLst>
          </p:cNvPr>
          <p:cNvSpPr>
            <a:spLocks noGrp="1"/>
          </p:cNvSpPr>
          <p:nvPr>
            <p:ph type="body" sz="quarter" idx="12"/>
          </p:nvPr>
        </p:nvSpPr>
        <p:spPr/>
        <p:txBody>
          <a:bodyPr/>
          <a:lstStyle/>
          <a:p>
            <a:r>
              <a:rPr lang="nb-NO" dirty="0"/>
              <a:t>+</a:t>
            </a:r>
            <a:r>
              <a:rPr lang="nb-NO" sz="1200" kern="0" dirty="0">
                <a:solidFill>
                  <a:prstClr val="white"/>
                </a:solidFill>
              </a:rPr>
              <a:t> 47 45 80 02 82</a:t>
            </a:r>
            <a:endParaRPr lang="nb-NO" dirty="0"/>
          </a:p>
        </p:txBody>
      </p:sp>
      <p:sp>
        <p:nvSpPr>
          <p:cNvPr id="75" name="strEmail01">
            <a:extLst>
              <a:ext uri="{FF2B5EF4-FFF2-40B4-BE49-F238E27FC236}">
                <a16:creationId xmlns:a16="http://schemas.microsoft.com/office/drawing/2014/main" id="{D9BB63E1-AF53-418A-B693-07F5E0572DF5}"/>
              </a:ext>
            </a:extLst>
          </p:cNvPr>
          <p:cNvSpPr>
            <a:spLocks noGrp="1"/>
          </p:cNvSpPr>
          <p:nvPr>
            <p:ph type="body" sz="quarter" idx="13"/>
          </p:nvPr>
        </p:nvSpPr>
        <p:spPr/>
        <p:txBody>
          <a:bodyPr/>
          <a:lstStyle/>
          <a:p>
            <a:pPr marL="5334"/>
            <a:r>
              <a:rPr lang="nb-NO" dirty="0"/>
              <a:t>B</a:t>
            </a:r>
            <a:r>
              <a:rPr lang="nb-NO" sz="1200" dirty="0">
                <a:solidFill>
                  <a:schemeClr val="bg1"/>
                </a:solidFill>
              </a:rPr>
              <a:t>ente.Dahlum@ipsos.com</a:t>
            </a:r>
          </a:p>
        </p:txBody>
      </p:sp>
      <p:sp>
        <p:nvSpPr>
          <p:cNvPr id="73" name="strFunction01">
            <a:extLst>
              <a:ext uri="{FF2B5EF4-FFF2-40B4-BE49-F238E27FC236}">
                <a16:creationId xmlns:a16="http://schemas.microsoft.com/office/drawing/2014/main" id="{8070223D-5ECE-49CC-99F0-F33E2DEB0706}"/>
              </a:ext>
            </a:extLst>
          </p:cNvPr>
          <p:cNvSpPr>
            <a:spLocks noGrp="1"/>
          </p:cNvSpPr>
          <p:nvPr>
            <p:ph type="body" sz="quarter" idx="11"/>
          </p:nvPr>
        </p:nvSpPr>
        <p:spPr/>
        <p:txBody>
          <a:bodyPr/>
          <a:lstStyle/>
          <a:p>
            <a:pPr marL="5334"/>
            <a:r>
              <a:rPr lang="nb-NO" sz="1200" dirty="0">
                <a:solidFill>
                  <a:schemeClr val="bg1"/>
                </a:solidFill>
              </a:rPr>
              <a:t>Seniorkonsulent</a:t>
            </a:r>
          </a:p>
        </p:txBody>
      </p:sp>
      <p:sp>
        <p:nvSpPr>
          <p:cNvPr id="54" name="strName01">
            <a:extLst>
              <a:ext uri="{FF2B5EF4-FFF2-40B4-BE49-F238E27FC236}">
                <a16:creationId xmlns:a16="http://schemas.microsoft.com/office/drawing/2014/main" id="{B413F927-B7E6-460F-89B9-3A1C336FF972}"/>
              </a:ext>
            </a:extLst>
          </p:cNvPr>
          <p:cNvSpPr>
            <a:spLocks noGrp="1"/>
          </p:cNvSpPr>
          <p:nvPr>
            <p:ph type="body" sz="quarter" idx="10"/>
          </p:nvPr>
        </p:nvSpPr>
        <p:spPr/>
        <p:txBody>
          <a:bodyPr/>
          <a:lstStyle/>
          <a:p>
            <a:pPr marL="5334"/>
            <a:r>
              <a:rPr lang="nb-NO" sz="1600" b="1" dirty="0">
                <a:solidFill>
                  <a:schemeClr val="bg1"/>
                </a:solidFill>
              </a:rPr>
              <a:t>Bente Dahlum</a:t>
            </a:r>
          </a:p>
        </p:txBody>
      </p:sp>
    </p:spTree>
    <p:extLst>
      <p:ext uri="{BB962C8B-B14F-4D97-AF65-F5344CB8AC3E}">
        <p14:creationId xmlns:p14="http://schemas.microsoft.com/office/powerpoint/2010/main" val="41906880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ext Box 3"/>
          <p:cNvSpPr txBox="1">
            <a:spLocks noChangeArrowheads="1"/>
          </p:cNvSpPr>
          <p:nvPr/>
        </p:nvSpPr>
        <p:spPr bwMode="auto">
          <a:xfrm>
            <a:off x="312000" y="5562602"/>
            <a:ext cx="9773390" cy="707694"/>
          </a:xfrm>
          <a:prstGeom prst="rect">
            <a:avLst/>
          </a:prstGeom>
          <a:noFill/>
          <a:ln w="12700">
            <a:solidFill>
              <a:schemeClr val="bg1"/>
            </a:solidFill>
            <a:miter lim="800000"/>
            <a:headEnd/>
            <a:tailEnd/>
          </a:ln>
        </p:spPr>
        <p:txBody>
          <a:bodyPr wrap="square">
            <a:spAutoFit/>
          </a:bodyPr>
          <a:lstStyle/>
          <a:p>
            <a:pPr algn="l">
              <a:spcBef>
                <a:spcPct val="50000"/>
              </a:spcBef>
            </a:pPr>
            <a:r>
              <a:rPr lang="nb-NO" sz="1333" b="1" dirty="0">
                <a:solidFill>
                  <a:schemeClr val="bg2">
                    <a:lumMod val="50000"/>
                  </a:schemeClr>
                </a:solidFill>
                <a:latin typeface="Calibri" pitchFamily="34" charset="0"/>
              </a:rPr>
              <a:t>Eksempel. </a:t>
            </a:r>
            <a:r>
              <a:rPr lang="nb-NO" sz="1333" dirty="0">
                <a:solidFill>
                  <a:schemeClr val="bg2">
                    <a:lumMod val="50000"/>
                  </a:schemeClr>
                </a:solidFill>
                <a:latin typeface="Calibri" pitchFamily="34" charset="0"/>
              </a:rPr>
              <a:t>Man har stilt et spørsmål med to svaralternativer: ”Ja” og ”nei”. I tabellen finner vi at 20% har svart ”ja” på spørsmålet, mens 80% har svart ”nei”. Er undersøkelsen basert på et utvalg på 1.000 intervju, vil feilmarginen i dette tilfellet være +/- 2,5  prosentpoeng. I praksis vil dette si at det reelle ”ja”-svar i populasjonen vil (med 95% sikkerhet) ligge et sted mellom 17,5% og 22,5%. </a:t>
            </a:r>
            <a:endParaRPr lang="nb-NO" sz="1333" b="1" dirty="0">
              <a:solidFill>
                <a:schemeClr val="bg2">
                  <a:lumMod val="50000"/>
                </a:schemeClr>
              </a:solidFill>
              <a:latin typeface="Calibri" pitchFamily="34" charset="0"/>
            </a:endParaRPr>
          </a:p>
        </p:txBody>
      </p:sp>
      <p:pic>
        <p:nvPicPr>
          <p:cNvPr id="13316" name="Picture 4"/>
          <p:cNvPicPr>
            <a:picLocks noChangeAspect="1" noChangeArrowheads="1"/>
          </p:cNvPicPr>
          <p:nvPr/>
        </p:nvPicPr>
        <p:blipFill>
          <a:blip r:embed="rId2" cstate="print"/>
          <a:srcRect/>
          <a:stretch>
            <a:fillRect/>
          </a:stretch>
        </p:blipFill>
        <p:spPr bwMode="auto">
          <a:xfrm>
            <a:off x="2790826" y="1600201"/>
            <a:ext cx="6681788" cy="3865563"/>
          </a:xfrm>
          <a:prstGeom prst="rect">
            <a:avLst/>
          </a:prstGeom>
          <a:noFill/>
          <a:ln w="9525">
            <a:noFill/>
            <a:miter lim="800000"/>
            <a:headEnd/>
            <a:tailEnd/>
          </a:ln>
        </p:spPr>
      </p:pic>
      <p:sp>
        <p:nvSpPr>
          <p:cNvPr id="13317" name="Rectangle 5"/>
          <p:cNvSpPr>
            <a:spLocks noChangeArrowheads="1"/>
          </p:cNvSpPr>
          <p:nvPr/>
        </p:nvSpPr>
        <p:spPr bwMode="auto">
          <a:xfrm>
            <a:off x="1908176" y="1268413"/>
            <a:ext cx="8177213" cy="360363"/>
          </a:xfrm>
          <a:prstGeom prst="rect">
            <a:avLst/>
          </a:prstGeom>
          <a:solidFill>
            <a:schemeClr val="bg1"/>
          </a:solidFill>
          <a:ln w="9525">
            <a:solidFill>
              <a:schemeClr val="bg1"/>
            </a:solidFill>
            <a:miter lim="800000"/>
            <a:headEnd/>
            <a:tailEnd/>
          </a:ln>
        </p:spPr>
        <p:txBody>
          <a:bodyPr wrap="none" anchor="ctr"/>
          <a:lstStyle/>
          <a:p>
            <a:endParaRPr lang="nb-NO"/>
          </a:p>
        </p:txBody>
      </p:sp>
      <p:sp>
        <p:nvSpPr>
          <p:cNvPr id="13318" name="Text Box 6"/>
          <p:cNvSpPr txBox="1">
            <a:spLocks noChangeArrowheads="1"/>
          </p:cNvSpPr>
          <p:nvPr/>
        </p:nvSpPr>
        <p:spPr bwMode="auto">
          <a:xfrm>
            <a:off x="311999" y="765176"/>
            <a:ext cx="10971351" cy="707694"/>
          </a:xfrm>
          <a:prstGeom prst="rect">
            <a:avLst/>
          </a:prstGeom>
          <a:solidFill>
            <a:schemeClr val="bg1"/>
          </a:solidFill>
          <a:ln w="12700">
            <a:solidFill>
              <a:schemeClr val="bg1"/>
            </a:solidFill>
            <a:miter lim="800000"/>
            <a:headEnd/>
            <a:tailEnd/>
          </a:ln>
        </p:spPr>
        <p:txBody>
          <a:bodyPr wrap="square">
            <a:spAutoFit/>
          </a:bodyPr>
          <a:lstStyle/>
          <a:p>
            <a:pPr algn="l">
              <a:spcBef>
                <a:spcPct val="50000"/>
              </a:spcBef>
            </a:pPr>
            <a:r>
              <a:rPr lang="nb-NO" sz="1333" dirty="0">
                <a:solidFill>
                  <a:schemeClr val="bg2">
                    <a:lumMod val="50000"/>
                  </a:schemeClr>
                </a:solidFill>
                <a:latin typeface="Calibri" pitchFamily="34" charset="0"/>
              </a:rPr>
              <a:t>Alle resultater som presenteres i denne rapporten er beheftet med en viss statistisk usikkerhet som skyldes at vi har kun observert et utvalg av enheter, og ikke hele populasjonen. Denne usikkerheten kan imidlertid beregnes. Generelt i denne undersøkelsen gjelder at tall i totalkolonnen er beheftet med en feilmargin på +/- 1,4-3,2 prosentpoeng. Feilmarginene for tall i undergrupper er større. </a:t>
            </a:r>
          </a:p>
        </p:txBody>
      </p:sp>
      <p:sp>
        <p:nvSpPr>
          <p:cNvPr id="2" name="Pil høyre 1"/>
          <p:cNvSpPr/>
          <p:nvPr/>
        </p:nvSpPr>
        <p:spPr>
          <a:xfrm>
            <a:off x="2091487" y="5137029"/>
            <a:ext cx="704851" cy="241540"/>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9" name="Title 1"/>
          <p:cNvSpPr txBox="1">
            <a:spLocks/>
          </p:cNvSpPr>
          <p:nvPr/>
        </p:nvSpPr>
        <p:spPr>
          <a:xfrm>
            <a:off x="312001" y="365560"/>
            <a:ext cx="11529295" cy="369397"/>
          </a:xfrm>
          <a:prstGeom prst="rect">
            <a:avLst/>
          </a:prstGeom>
        </p:spPr>
        <p:txBody>
          <a:bodyPr vert="horz" wrap="square" lIns="0" tIns="0" rIns="0" bIns="0" rtlCol="0" anchor="ctr" anchorCtr="0">
            <a:spAutoFit/>
          </a:bodyPr>
          <a:lstStyle>
            <a:lvl1pPr algn="l" defTabSz="924282" rtl="0" eaLnBrk="1" latinLnBrk="0" hangingPunct="1">
              <a:lnSpc>
                <a:spcPct val="90000"/>
              </a:lnSpc>
              <a:spcBef>
                <a:spcPts val="408"/>
              </a:spcBef>
              <a:buNone/>
              <a:tabLst/>
              <a:defRPr sz="1500" b="1" kern="1200">
                <a:solidFill>
                  <a:schemeClr val="tx1"/>
                </a:solidFill>
                <a:latin typeface="+mj-lt"/>
                <a:ea typeface="+mj-ea"/>
                <a:cs typeface="+mj-cs"/>
              </a:defRPr>
            </a:lvl1pPr>
          </a:lstStyle>
          <a:p>
            <a:r>
              <a:rPr lang="nb-NO" sz="2667" dirty="0">
                <a:solidFill>
                  <a:schemeClr val="bg2"/>
                </a:solidFill>
              </a:rPr>
              <a:t>Feilmarginer</a:t>
            </a:r>
            <a:endParaRPr lang="en-GB" sz="2667" dirty="0">
              <a:solidFill>
                <a:schemeClr val="bg2"/>
              </a:solidFill>
            </a:endParaRPr>
          </a:p>
        </p:txBody>
      </p:sp>
      <p:sp>
        <p:nvSpPr>
          <p:cNvPr id="3" name="Rectangle 2">
            <a:extLst>
              <a:ext uri="{FF2B5EF4-FFF2-40B4-BE49-F238E27FC236}">
                <a16:creationId xmlns:a16="http://schemas.microsoft.com/office/drawing/2014/main" id="{8ABEF189-2348-1CD2-515E-ECCC0D80E93C}"/>
              </a:ext>
            </a:extLst>
          </p:cNvPr>
          <p:cNvSpPr/>
          <p:nvPr/>
        </p:nvSpPr>
        <p:spPr>
          <a:xfrm>
            <a:off x="10299560" y="5757705"/>
            <a:ext cx="1567543" cy="371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Tree>
    <p:extLst>
      <p:ext uri="{BB962C8B-B14F-4D97-AF65-F5344CB8AC3E}">
        <p14:creationId xmlns:p14="http://schemas.microsoft.com/office/powerpoint/2010/main" val="12917545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psosTagline01">
            <a:extLst>
              <a:ext uri="{FF2B5EF4-FFF2-40B4-BE49-F238E27FC236}">
                <a16:creationId xmlns:a16="http://schemas.microsoft.com/office/drawing/2014/main" id="{D36B4109-E0CF-48BD-A75D-BF2786BFB462}"/>
              </a:ext>
            </a:extLst>
          </p:cNvPr>
          <p:cNvSpPr>
            <a:spLocks noChangeAspect="1" noEditPoints="1"/>
          </p:cNvSpPr>
          <p:nvPr/>
        </p:nvSpPr>
        <p:spPr bwMode="auto">
          <a:xfrm>
            <a:off x="695325" y="857250"/>
            <a:ext cx="3458001" cy="3420000"/>
          </a:xfrm>
          <a:custGeom>
            <a:avLst/>
            <a:gdLst>
              <a:gd name="T0" fmla="*/ 644 w 1274"/>
              <a:gd name="T1" fmla="*/ 1030 h 1257"/>
              <a:gd name="T2" fmla="*/ 774 w 1274"/>
              <a:gd name="T3" fmla="*/ 1030 h 1257"/>
              <a:gd name="T4" fmla="*/ 887 w 1274"/>
              <a:gd name="T5" fmla="*/ 812 h 1257"/>
              <a:gd name="T6" fmla="*/ 893 w 1274"/>
              <a:gd name="T7" fmla="*/ 705 h 1257"/>
              <a:gd name="T8" fmla="*/ 897 w 1274"/>
              <a:gd name="T9" fmla="*/ 930 h 1257"/>
              <a:gd name="T10" fmla="*/ 492 w 1274"/>
              <a:gd name="T11" fmla="*/ 644 h 1257"/>
              <a:gd name="T12" fmla="*/ 632 w 1274"/>
              <a:gd name="T13" fmla="*/ 644 h 1257"/>
              <a:gd name="T14" fmla="*/ 420 w 1274"/>
              <a:gd name="T15" fmla="*/ 787 h 1257"/>
              <a:gd name="T16" fmla="*/ 420 w 1274"/>
              <a:gd name="T17" fmla="*/ 787 h 1257"/>
              <a:gd name="T18" fmla="*/ 395 w 1274"/>
              <a:gd name="T19" fmla="*/ 935 h 1257"/>
              <a:gd name="T20" fmla="*/ 584 w 1274"/>
              <a:gd name="T21" fmla="*/ 1169 h 1257"/>
              <a:gd name="T22" fmla="*/ 507 w 1274"/>
              <a:gd name="T23" fmla="*/ 1049 h 1257"/>
              <a:gd name="T24" fmla="*/ 508 w 1274"/>
              <a:gd name="T25" fmla="*/ 1179 h 1257"/>
              <a:gd name="T26" fmla="*/ 387 w 1274"/>
              <a:gd name="T27" fmla="*/ 1167 h 1257"/>
              <a:gd name="T28" fmla="*/ 272 w 1274"/>
              <a:gd name="T29" fmla="*/ 1025 h 1257"/>
              <a:gd name="T30" fmla="*/ 156 w 1274"/>
              <a:gd name="T31" fmla="*/ 1252 h 1257"/>
              <a:gd name="T32" fmla="*/ 309 w 1274"/>
              <a:gd name="T33" fmla="*/ 1252 h 1257"/>
              <a:gd name="T34" fmla="*/ 170 w 1274"/>
              <a:gd name="T35" fmla="*/ 966 h 1257"/>
              <a:gd name="T36" fmla="*/ 75 w 1274"/>
              <a:gd name="T37" fmla="*/ 1134 h 1257"/>
              <a:gd name="T38" fmla="*/ 75 w 1274"/>
              <a:gd name="T39" fmla="*/ 1027 h 1257"/>
              <a:gd name="T40" fmla="*/ 1 w 1274"/>
              <a:gd name="T41" fmla="*/ 644 h 1257"/>
              <a:gd name="T42" fmla="*/ 71 w 1274"/>
              <a:gd name="T43" fmla="*/ 717 h 1257"/>
              <a:gd name="T44" fmla="*/ 204 w 1274"/>
              <a:gd name="T45" fmla="*/ 717 h 1257"/>
              <a:gd name="T46" fmla="*/ 168 w 1274"/>
              <a:gd name="T47" fmla="*/ 644 h 1257"/>
              <a:gd name="T48" fmla="*/ 72 w 1274"/>
              <a:gd name="T49" fmla="*/ 523 h 1257"/>
              <a:gd name="T50" fmla="*/ 197 w 1274"/>
              <a:gd name="T51" fmla="*/ 525 h 1257"/>
              <a:gd name="T52" fmla="*/ 120 w 1274"/>
              <a:gd name="T53" fmla="*/ 405 h 1257"/>
              <a:gd name="T54" fmla="*/ 121 w 1274"/>
              <a:gd name="T55" fmla="*/ 535 h 1257"/>
              <a:gd name="T56" fmla="*/ 122 w 1274"/>
              <a:gd name="T57" fmla="*/ 197 h 1257"/>
              <a:gd name="T58" fmla="*/ 95 w 1274"/>
              <a:gd name="T59" fmla="*/ 163 h 1257"/>
              <a:gd name="T60" fmla="*/ 74 w 1274"/>
              <a:gd name="T61" fmla="*/ 112 h 1257"/>
              <a:gd name="T62" fmla="*/ 146 w 1274"/>
              <a:gd name="T63" fmla="*/ 136 h 1257"/>
              <a:gd name="T64" fmla="*/ 0 w 1274"/>
              <a:gd name="T65" fmla="*/ 0 h 1257"/>
              <a:gd name="T66" fmla="*/ 146 w 1274"/>
              <a:gd name="T67" fmla="*/ 136 h 1257"/>
              <a:gd name="T68" fmla="*/ 291 w 1274"/>
              <a:gd name="T69" fmla="*/ 225 h 1257"/>
              <a:gd name="T70" fmla="*/ 291 w 1274"/>
              <a:gd name="T71" fmla="*/ 110 h 1257"/>
              <a:gd name="T72" fmla="*/ 217 w 1274"/>
              <a:gd name="T73" fmla="*/ 0 h 1257"/>
              <a:gd name="T74" fmla="*/ 331 w 1274"/>
              <a:gd name="T75" fmla="*/ 322 h 1257"/>
              <a:gd name="T76" fmla="*/ 286 w 1274"/>
              <a:gd name="T77" fmla="*/ 322 h 1257"/>
              <a:gd name="T78" fmla="*/ 405 w 1274"/>
              <a:gd name="T79" fmla="*/ 509 h 1257"/>
              <a:gd name="T80" fmla="*/ 505 w 1274"/>
              <a:gd name="T81" fmla="*/ 376 h 1257"/>
              <a:gd name="T82" fmla="*/ 635 w 1274"/>
              <a:gd name="T83" fmla="*/ 608 h 1257"/>
              <a:gd name="T84" fmla="*/ 623 w 1274"/>
              <a:gd name="T85" fmla="*/ 531 h 1257"/>
              <a:gd name="T86" fmla="*/ 547 w 1274"/>
              <a:gd name="T87" fmla="*/ 322 h 1257"/>
              <a:gd name="T88" fmla="*/ 505 w 1274"/>
              <a:gd name="T89" fmla="*/ 493 h 1257"/>
              <a:gd name="T90" fmla="*/ 556 w 1274"/>
              <a:gd name="T91" fmla="*/ 608 h 1257"/>
              <a:gd name="T92" fmla="*/ 725 w 1274"/>
              <a:gd name="T93" fmla="*/ 547 h 1257"/>
              <a:gd name="T94" fmla="*/ 725 w 1274"/>
              <a:gd name="T95" fmla="*/ 432 h 1257"/>
              <a:gd name="T96" fmla="*/ 651 w 1274"/>
              <a:gd name="T97" fmla="*/ 322 h 1257"/>
              <a:gd name="T98" fmla="*/ 914 w 1274"/>
              <a:gd name="T99" fmla="*/ 529 h 1257"/>
              <a:gd name="T100" fmla="*/ 963 w 1274"/>
              <a:gd name="T101" fmla="*/ 1252 h 1257"/>
              <a:gd name="T102" fmla="*/ 953 w 1274"/>
              <a:gd name="T103" fmla="*/ 1134 h 1257"/>
              <a:gd name="T104" fmla="*/ 959 w 1274"/>
              <a:gd name="T105" fmla="*/ 1027 h 1257"/>
              <a:gd name="T106" fmla="*/ 1103 w 1274"/>
              <a:gd name="T107" fmla="*/ 1053 h 1257"/>
              <a:gd name="T108" fmla="*/ 1072 w 1274"/>
              <a:gd name="T109" fmla="*/ 1020 h 1257"/>
              <a:gd name="T110" fmla="*/ 1188 w 1274"/>
              <a:gd name="T111" fmla="*/ 1248 h 1257"/>
              <a:gd name="T112" fmla="*/ 1129 w 1274"/>
              <a:gd name="T113" fmla="*/ 1111 h 1257"/>
              <a:gd name="T114" fmla="*/ 983 w 1274"/>
              <a:gd name="T115" fmla="*/ 966 h 1257"/>
              <a:gd name="T116" fmla="*/ 1077 w 1274"/>
              <a:gd name="T117" fmla="*/ 1137 h 1257"/>
              <a:gd name="T118" fmla="*/ 1274 w 1274"/>
              <a:gd name="T119" fmla="*/ 1173 h 1257"/>
              <a:gd name="T120" fmla="*/ 1274 w 1274"/>
              <a:gd name="T121" fmla="*/ 117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4" h="1257">
                <a:moveTo>
                  <a:pt x="774" y="966"/>
                </a:moveTo>
                <a:cubicBezTo>
                  <a:pt x="588" y="966"/>
                  <a:pt x="588" y="966"/>
                  <a:pt x="588" y="966"/>
                </a:cubicBezTo>
                <a:cubicBezTo>
                  <a:pt x="588" y="1030"/>
                  <a:pt x="588" y="1030"/>
                  <a:pt x="588" y="1030"/>
                </a:cubicBezTo>
                <a:cubicBezTo>
                  <a:pt x="644" y="1030"/>
                  <a:pt x="644" y="1030"/>
                  <a:pt x="644" y="1030"/>
                </a:cubicBezTo>
                <a:cubicBezTo>
                  <a:pt x="644" y="1252"/>
                  <a:pt x="644" y="1252"/>
                  <a:pt x="644" y="1252"/>
                </a:cubicBezTo>
                <a:cubicBezTo>
                  <a:pt x="718" y="1252"/>
                  <a:pt x="718" y="1252"/>
                  <a:pt x="718" y="1252"/>
                </a:cubicBezTo>
                <a:cubicBezTo>
                  <a:pt x="718" y="1030"/>
                  <a:pt x="718" y="1030"/>
                  <a:pt x="718" y="1030"/>
                </a:cubicBezTo>
                <a:cubicBezTo>
                  <a:pt x="774" y="1030"/>
                  <a:pt x="774" y="1030"/>
                  <a:pt x="774" y="1030"/>
                </a:cubicBezTo>
                <a:lnTo>
                  <a:pt x="774" y="966"/>
                </a:lnTo>
                <a:close/>
                <a:moveTo>
                  <a:pt x="799" y="869"/>
                </a:moveTo>
                <a:cubicBezTo>
                  <a:pt x="799" y="812"/>
                  <a:pt x="799" y="812"/>
                  <a:pt x="799" y="812"/>
                </a:cubicBezTo>
                <a:cubicBezTo>
                  <a:pt x="887" y="812"/>
                  <a:pt x="887" y="812"/>
                  <a:pt x="887" y="812"/>
                </a:cubicBezTo>
                <a:cubicBezTo>
                  <a:pt x="887" y="754"/>
                  <a:pt x="887" y="754"/>
                  <a:pt x="887" y="754"/>
                </a:cubicBezTo>
                <a:cubicBezTo>
                  <a:pt x="799" y="754"/>
                  <a:pt x="799" y="754"/>
                  <a:pt x="799" y="754"/>
                </a:cubicBezTo>
                <a:cubicBezTo>
                  <a:pt x="799" y="705"/>
                  <a:pt x="799" y="705"/>
                  <a:pt x="799" y="705"/>
                </a:cubicBezTo>
                <a:cubicBezTo>
                  <a:pt x="893" y="705"/>
                  <a:pt x="893" y="705"/>
                  <a:pt x="893" y="705"/>
                </a:cubicBezTo>
                <a:cubicBezTo>
                  <a:pt x="893" y="644"/>
                  <a:pt x="893" y="644"/>
                  <a:pt x="893" y="644"/>
                </a:cubicBezTo>
                <a:cubicBezTo>
                  <a:pt x="724" y="644"/>
                  <a:pt x="724" y="644"/>
                  <a:pt x="724" y="644"/>
                </a:cubicBezTo>
                <a:cubicBezTo>
                  <a:pt x="724" y="930"/>
                  <a:pt x="724" y="930"/>
                  <a:pt x="724" y="930"/>
                </a:cubicBezTo>
                <a:cubicBezTo>
                  <a:pt x="897" y="930"/>
                  <a:pt x="897" y="930"/>
                  <a:pt x="897" y="930"/>
                </a:cubicBezTo>
                <a:cubicBezTo>
                  <a:pt x="897" y="869"/>
                  <a:pt x="897" y="869"/>
                  <a:pt x="897" y="869"/>
                </a:cubicBezTo>
                <a:lnTo>
                  <a:pt x="799" y="869"/>
                </a:lnTo>
                <a:close/>
                <a:moveTo>
                  <a:pt x="571" y="644"/>
                </a:moveTo>
                <a:cubicBezTo>
                  <a:pt x="492" y="644"/>
                  <a:pt x="492" y="644"/>
                  <a:pt x="492" y="644"/>
                </a:cubicBezTo>
                <a:cubicBezTo>
                  <a:pt x="553" y="930"/>
                  <a:pt x="553" y="930"/>
                  <a:pt x="553" y="930"/>
                </a:cubicBezTo>
                <a:cubicBezTo>
                  <a:pt x="649" y="930"/>
                  <a:pt x="649" y="930"/>
                  <a:pt x="649" y="930"/>
                </a:cubicBezTo>
                <a:cubicBezTo>
                  <a:pt x="711" y="644"/>
                  <a:pt x="711" y="644"/>
                  <a:pt x="711" y="644"/>
                </a:cubicBezTo>
                <a:cubicBezTo>
                  <a:pt x="632" y="644"/>
                  <a:pt x="632" y="644"/>
                  <a:pt x="632" y="644"/>
                </a:cubicBezTo>
                <a:cubicBezTo>
                  <a:pt x="602" y="859"/>
                  <a:pt x="602" y="859"/>
                  <a:pt x="602" y="859"/>
                </a:cubicBezTo>
                <a:cubicBezTo>
                  <a:pt x="601" y="859"/>
                  <a:pt x="601" y="859"/>
                  <a:pt x="601" y="859"/>
                </a:cubicBezTo>
                <a:lnTo>
                  <a:pt x="571" y="644"/>
                </a:lnTo>
                <a:close/>
                <a:moveTo>
                  <a:pt x="420" y="787"/>
                </a:moveTo>
                <a:cubicBezTo>
                  <a:pt x="420" y="864"/>
                  <a:pt x="417" y="885"/>
                  <a:pt x="395" y="885"/>
                </a:cubicBezTo>
                <a:cubicBezTo>
                  <a:pt x="372" y="885"/>
                  <a:pt x="369" y="864"/>
                  <a:pt x="369" y="787"/>
                </a:cubicBezTo>
                <a:cubicBezTo>
                  <a:pt x="369" y="710"/>
                  <a:pt x="372" y="689"/>
                  <a:pt x="395" y="689"/>
                </a:cubicBezTo>
                <a:cubicBezTo>
                  <a:pt x="417" y="689"/>
                  <a:pt x="420" y="710"/>
                  <a:pt x="420" y="787"/>
                </a:cubicBezTo>
                <a:moveTo>
                  <a:pt x="496" y="787"/>
                </a:moveTo>
                <a:cubicBezTo>
                  <a:pt x="496" y="680"/>
                  <a:pt x="471" y="639"/>
                  <a:pt x="395" y="639"/>
                </a:cubicBezTo>
                <a:cubicBezTo>
                  <a:pt x="319" y="639"/>
                  <a:pt x="293" y="680"/>
                  <a:pt x="293" y="787"/>
                </a:cubicBezTo>
                <a:cubicBezTo>
                  <a:pt x="293" y="894"/>
                  <a:pt x="319" y="935"/>
                  <a:pt x="395" y="935"/>
                </a:cubicBezTo>
                <a:cubicBezTo>
                  <a:pt x="471" y="935"/>
                  <a:pt x="496" y="894"/>
                  <a:pt x="496" y="787"/>
                </a:cubicBezTo>
                <a:moveTo>
                  <a:pt x="387" y="1177"/>
                </a:moveTo>
                <a:cubicBezTo>
                  <a:pt x="387" y="1236"/>
                  <a:pt x="422" y="1257"/>
                  <a:pt x="483" y="1257"/>
                </a:cubicBezTo>
                <a:cubicBezTo>
                  <a:pt x="549" y="1257"/>
                  <a:pt x="584" y="1230"/>
                  <a:pt x="584" y="1169"/>
                </a:cubicBezTo>
                <a:cubicBezTo>
                  <a:pt x="584" y="1065"/>
                  <a:pt x="463" y="1093"/>
                  <a:pt x="463" y="1036"/>
                </a:cubicBezTo>
                <a:cubicBezTo>
                  <a:pt x="463" y="1024"/>
                  <a:pt x="470" y="1011"/>
                  <a:pt x="486" y="1011"/>
                </a:cubicBezTo>
                <a:cubicBezTo>
                  <a:pt x="500" y="1011"/>
                  <a:pt x="507" y="1025"/>
                  <a:pt x="507" y="1042"/>
                </a:cubicBezTo>
                <a:cubicBezTo>
                  <a:pt x="507" y="1049"/>
                  <a:pt x="507" y="1049"/>
                  <a:pt x="507" y="1049"/>
                </a:cubicBezTo>
                <a:cubicBezTo>
                  <a:pt x="577" y="1049"/>
                  <a:pt x="577" y="1049"/>
                  <a:pt x="577" y="1049"/>
                </a:cubicBezTo>
                <a:cubicBezTo>
                  <a:pt x="577" y="988"/>
                  <a:pt x="549" y="961"/>
                  <a:pt x="485" y="961"/>
                </a:cubicBezTo>
                <a:cubicBezTo>
                  <a:pt x="422" y="961"/>
                  <a:pt x="391" y="992"/>
                  <a:pt x="391" y="1050"/>
                </a:cubicBezTo>
                <a:cubicBezTo>
                  <a:pt x="391" y="1151"/>
                  <a:pt x="508" y="1123"/>
                  <a:pt x="508" y="1179"/>
                </a:cubicBezTo>
                <a:cubicBezTo>
                  <a:pt x="508" y="1195"/>
                  <a:pt x="499" y="1207"/>
                  <a:pt x="484" y="1207"/>
                </a:cubicBezTo>
                <a:cubicBezTo>
                  <a:pt x="469" y="1207"/>
                  <a:pt x="459" y="1198"/>
                  <a:pt x="459" y="1174"/>
                </a:cubicBezTo>
                <a:cubicBezTo>
                  <a:pt x="459" y="1167"/>
                  <a:pt x="459" y="1167"/>
                  <a:pt x="459" y="1167"/>
                </a:cubicBezTo>
                <a:cubicBezTo>
                  <a:pt x="387" y="1167"/>
                  <a:pt x="387" y="1167"/>
                  <a:pt x="387" y="1167"/>
                </a:cubicBezTo>
                <a:lnTo>
                  <a:pt x="387" y="1177"/>
                </a:lnTo>
                <a:close/>
                <a:moveTo>
                  <a:pt x="251" y="1146"/>
                </a:moveTo>
                <a:cubicBezTo>
                  <a:pt x="272" y="1025"/>
                  <a:pt x="272" y="1025"/>
                  <a:pt x="272" y="1025"/>
                </a:cubicBezTo>
                <a:cubicBezTo>
                  <a:pt x="272" y="1025"/>
                  <a:pt x="272" y="1025"/>
                  <a:pt x="272" y="1025"/>
                </a:cubicBezTo>
                <a:cubicBezTo>
                  <a:pt x="293" y="1146"/>
                  <a:pt x="293" y="1146"/>
                  <a:pt x="293" y="1146"/>
                </a:cubicBezTo>
                <a:lnTo>
                  <a:pt x="251" y="1146"/>
                </a:lnTo>
                <a:close/>
                <a:moveTo>
                  <a:pt x="225" y="966"/>
                </a:moveTo>
                <a:cubicBezTo>
                  <a:pt x="156" y="1252"/>
                  <a:pt x="156" y="1252"/>
                  <a:pt x="156" y="1252"/>
                </a:cubicBezTo>
                <a:cubicBezTo>
                  <a:pt x="235" y="1252"/>
                  <a:pt x="235" y="1252"/>
                  <a:pt x="235" y="1252"/>
                </a:cubicBezTo>
                <a:cubicBezTo>
                  <a:pt x="243" y="1202"/>
                  <a:pt x="243" y="1202"/>
                  <a:pt x="243" y="1202"/>
                </a:cubicBezTo>
                <a:cubicBezTo>
                  <a:pt x="302" y="1202"/>
                  <a:pt x="302" y="1202"/>
                  <a:pt x="302" y="1202"/>
                </a:cubicBezTo>
                <a:cubicBezTo>
                  <a:pt x="309" y="1252"/>
                  <a:pt x="309" y="1252"/>
                  <a:pt x="309" y="1252"/>
                </a:cubicBezTo>
                <a:cubicBezTo>
                  <a:pt x="388" y="1252"/>
                  <a:pt x="388" y="1252"/>
                  <a:pt x="388" y="1252"/>
                </a:cubicBezTo>
                <a:cubicBezTo>
                  <a:pt x="319" y="966"/>
                  <a:pt x="319" y="966"/>
                  <a:pt x="319" y="966"/>
                </a:cubicBezTo>
                <a:lnTo>
                  <a:pt x="225" y="966"/>
                </a:lnTo>
                <a:close/>
                <a:moveTo>
                  <a:pt x="170" y="966"/>
                </a:moveTo>
                <a:cubicBezTo>
                  <a:pt x="1" y="966"/>
                  <a:pt x="1" y="966"/>
                  <a:pt x="1" y="966"/>
                </a:cubicBezTo>
                <a:cubicBezTo>
                  <a:pt x="1" y="1252"/>
                  <a:pt x="1" y="1252"/>
                  <a:pt x="1" y="1252"/>
                </a:cubicBezTo>
                <a:cubicBezTo>
                  <a:pt x="75" y="1252"/>
                  <a:pt x="75" y="1252"/>
                  <a:pt x="75" y="1252"/>
                </a:cubicBezTo>
                <a:cubicBezTo>
                  <a:pt x="75" y="1134"/>
                  <a:pt x="75" y="1134"/>
                  <a:pt x="75" y="1134"/>
                </a:cubicBezTo>
                <a:cubicBezTo>
                  <a:pt x="164" y="1134"/>
                  <a:pt x="164" y="1134"/>
                  <a:pt x="164" y="1134"/>
                </a:cubicBezTo>
                <a:cubicBezTo>
                  <a:pt x="164" y="1076"/>
                  <a:pt x="164" y="1076"/>
                  <a:pt x="164" y="1076"/>
                </a:cubicBezTo>
                <a:cubicBezTo>
                  <a:pt x="75" y="1076"/>
                  <a:pt x="75" y="1076"/>
                  <a:pt x="75" y="1076"/>
                </a:cubicBezTo>
                <a:cubicBezTo>
                  <a:pt x="75" y="1027"/>
                  <a:pt x="75" y="1027"/>
                  <a:pt x="75" y="1027"/>
                </a:cubicBezTo>
                <a:cubicBezTo>
                  <a:pt x="170" y="1027"/>
                  <a:pt x="170" y="1027"/>
                  <a:pt x="170" y="1027"/>
                </a:cubicBezTo>
                <a:lnTo>
                  <a:pt x="170" y="966"/>
                </a:lnTo>
                <a:close/>
                <a:moveTo>
                  <a:pt x="107" y="644"/>
                </a:moveTo>
                <a:cubicBezTo>
                  <a:pt x="1" y="644"/>
                  <a:pt x="1" y="644"/>
                  <a:pt x="1" y="644"/>
                </a:cubicBezTo>
                <a:cubicBezTo>
                  <a:pt x="1" y="930"/>
                  <a:pt x="1" y="930"/>
                  <a:pt x="1" y="930"/>
                </a:cubicBezTo>
                <a:cubicBezTo>
                  <a:pt x="70" y="930"/>
                  <a:pt x="70" y="930"/>
                  <a:pt x="70" y="930"/>
                </a:cubicBezTo>
                <a:cubicBezTo>
                  <a:pt x="70" y="717"/>
                  <a:pt x="70" y="717"/>
                  <a:pt x="70" y="717"/>
                </a:cubicBezTo>
                <a:cubicBezTo>
                  <a:pt x="71" y="717"/>
                  <a:pt x="71" y="717"/>
                  <a:pt x="71" y="717"/>
                </a:cubicBezTo>
                <a:cubicBezTo>
                  <a:pt x="110" y="930"/>
                  <a:pt x="110" y="930"/>
                  <a:pt x="110" y="930"/>
                </a:cubicBezTo>
                <a:cubicBezTo>
                  <a:pt x="164" y="930"/>
                  <a:pt x="164" y="930"/>
                  <a:pt x="164" y="930"/>
                </a:cubicBezTo>
                <a:cubicBezTo>
                  <a:pt x="204" y="717"/>
                  <a:pt x="204" y="717"/>
                  <a:pt x="204" y="717"/>
                </a:cubicBezTo>
                <a:cubicBezTo>
                  <a:pt x="204" y="717"/>
                  <a:pt x="204" y="717"/>
                  <a:pt x="204" y="717"/>
                </a:cubicBezTo>
                <a:cubicBezTo>
                  <a:pt x="204" y="930"/>
                  <a:pt x="204" y="930"/>
                  <a:pt x="204" y="930"/>
                </a:cubicBezTo>
                <a:cubicBezTo>
                  <a:pt x="274" y="930"/>
                  <a:pt x="274" y="930"/>
                  <a:pt x="274" y="930"/>
                </a:cubicBezTo>
                <a:cubicBezTo>
                  <a:pt x="274" y="644"/>
                  <a:pt x="274" y="644"/>
                  <a:pt x="274" y="644"/>
                </a:cubicBezTo>
                <a:cubicBezTo>
                  <a:pt x="168" y="644"/>
                  <a:pt x="168" y="644"/>
                  <a:pt x="168" y="644"/>
                </a:cubicBezTo>
                <a:cubicBezTo>
                  <a:pt x="138" y="813"/>
                  <a:pt x="138" y="813"/>
                  <a:pt x="138" y="813"/>
                </a:cubicBezTo>
                <a:cubicBezTo>
                  <a:pt x="137" y="813"/>
                  <a:pt x="137" y="813"/>
                  <a:pt x="137" y="813"/>
                </a:cubicBezTo>
                <a:lnTo>
                  <a:pt x="107" y="644"/>
                </a:lnTo>
                <a:close/>
                <a:moveTo>
                  <a:pt x="72" y="523"/>
                </a:moveTo>
                <a:cubicBezTo>
                  <a:pt x="0" y="523"/>
                  <a:pt x="0" y="523"/>
                  <a:pt x="0" y="523"/>
                </a:cubicBezTo>
                <a:cubicBezTo>
                  <a:pt x="0" y="533"/>
                  <a:pt x="0" y="533"/>
                  <a:pt x="0" y="533"/>
                </a:cubicBezTo>
                <a:cubicBezTo>
                  <a:pt x="0" y="592"/>
                  <a:pt x="35" y="613"/>
                  <a:pt x="96" y="613"/>
                </a:cubicBezTo>
                <a:cubicBezTo>
                  <a:pt x="162" y="613"/>
                  <a:pt x="197" y="586"/>
                  <a:pt x="197" y="525"/>
                </a:cubicBezTo>
                <a:cubicBezTo>
                  <a:pt x="197" y="421"/>
                  <a:pt x="76" y="449"/>
                  <a:pt x="76" y="392"/>
                </a:cubicBezTo>
                <a:cubicBezTo>
                  <a:pt x="76" y="380"/>
                  <a:pt x="83" y="367"/>
                  <a:pt x="99" y="367"/>
                </a:cubicBezTo>
                <a:cubicBezTo>
                  <a:pt x="113" y="367"/>
                  <a:pt x="120" y="381"/>
                  <a:pt x="120" y="398"/>
                </a:cubicBezTo>
                <a:cubicBezTo>
                  <a:pt x="120" y="405"/>
                  <a:pt x="120" y="405"/>
                  <a:pt x="120" y="405"/>
                </a:cubicBezTo>
                <a:cubicBezTo>
                  <a:pt x="190" y="405"/>
                  <a:pt x="190" y="405"/>
                  <a:pt x="190" y="405"/>
                </a:cubicBezTo>
                <a:cubicBezTo>
                  <a:pt x="190" y="344"/>
                  <a:pt x="162" y="317"/>
                  <a:pt x="97" y="317"/>
                </a:cubicBezTo>
                <a:cubicBezTo>
                  <a:pt x="35" y="317"/>
                  <a:pt x="4" y="348"/>
                  <a:pt x="4" y="406"/>
                </a:cubicBezTo>
                <a:cubicBezTo>
                  <a:pt x="4" y="507"/>
                  <a:pt x="121" y="479"/>
                  <a:pt x="121" y="535"/>
                </a:cubicBezTo>
                <a:cubicBezTo>
                  <a:pt x="121" y="551"/>
                  <a:pt x="112" y="563"/>
                  <a:pt x="97" y="563"/>
                </a:cubicBezTo>
                <a:cubicBezTo>
                  <a:pt x="82" y="563"/>
                  <a:pt x="72" y="554"/>
                  <a:pt x="72" y="530"/>
                </a:cubicBezTo>
                <a:lnTo>
                  <a:pt x="72" y="523"/>
                </a:lnTo>
                <a:close/>
                <a:moveTo>
                  <a:pt x="122" y="197"/>
                </a:moveTo>
                <a:cubicBezTo>
                  <a:pt x="122" y="220"/>
                  <a:pt x="109" y="232"/>
                  <a:pt x="95" y="232"/>
                </a:cubicBezTo>
                <a:cubicBezTo>
                  <a:pt x="74" y="232"/>
                  <a:pt x="74" y="232"/>
                  <a:pt x="74" y="232"/>
                </a:cubicBezTo>
                <a:cubicBezTo>
                  <a:pt x="74" y="163"/>
                  <a:pt x="74" y="163"/>
                  <a:pt x="74" y="163"/>
                </a:cubicBezTo>
                <a:cubicBezTo>
                  <a:pt x="95" y="163"/>
                  <a:pt x="95" y="163"/>
                  <a:pt x="95" y="163"/>
                </a:cubicBezTo>
                <a:cubicBezTo>
                  <a:pt x="109" y="163"/>
                  <a:pt x="122" y="175"/>
                  <a:pt x="122" y="197"/>
                </a:cubicBezTo>
                <a:moveTo>
                  <a:pt x="116" y="83"/>
                </a:moveTo>
                <a:cubicBezTo>
                  <a:pt x="116" y="99"/>
                  <a:pt x="108" y="112"/>
                  <a:pt x="92" y="112"/>
                </a:cubicBezTo>
                <a:cubicBezTo>
                  <a:pt x="74" y="112"/>
                  <a:pt x="74" y="112"/>
                  <a:pt x="74" y="112"/>
                </a:cubicBezTo>
                <a:cubicBezTo>
                  <a:pt x="74" y="54"/>
                  <a:pt x="74" y="54"/>
                  <a:pt x="74" y="54"/>
                </a:cubicBezTo>
                <a:cubicBezTo>
                  <a:pt x="92" y="54"/>
                  <a:pt x="92" y="54"/>
                  <a:pt x="92" y="54"/>
                </a:cubicBezTo>
                <a:cubicBezTo>
                  <a:pt x="108" y="54"/>
                  <a:pt x="116" y="67"/>
                  <a:pt x="116" y="83"/>
                </a:cubicBezTo>
                <a:moveTo>
                  <a:pt x="146" y="136"/>
                </a:moveTo>
                <a:cubicBezTo>
                  <a:pt x="146" y="135"/>
                  <a:pt x="146" y="135"/>
                  <a:pt x="146" y="135"/>
                </a:cubicBezTo>
                <a:cubicBezTo>
                  <a:pt x="177" y="129"/>
                  <a:pt x="190" y="102"/>
                  <a:pt x="190" y="71"/>
                </a:cubicBezTo>
                <a:cubicBezTo>
                  <a:pt x="190" y="29"/>
                  <a:pt x="166" y="0"/>
                  <a:pt x="112" y="0"/>
                </a:cubicBezTo>
                <a:cubicBezTo>
                  <a:pt x="0" y="0"/>
                  <a:pt x="0" y="0"/>
                  <a:pt x="0" y="0"/>
                </a:cubicBezTo>
                <a:cubicBezTo>
                  <a:pt x="0" y="286"/>
                  <a:pt x="0" y="286"/>
                  <a:pt x="0" y="286"/>
                </a:cubicBezTo>
                <a:cubicBezTo>
                  <a:pt x="112" y="286"/>
                  <a:pt x="112" y="286"/>
                  <a:pt x="112" y="286"/>
                </a:cubicBezTo>
                <a:cubicBezTo>
                  <a:pt x="174" y="286"/>
                  <a:pt x="198" y="251"/>
                  <a:pt x="198" y="201"/>
                </a:cubicBezTo>
                <a:cubicBezTo>
                  <a:pt x="198" y="172"/>
                  <a:pt x="183" y="140"/>
                  <a:pt x="146" y="136"/>
                </a:cubicBezTo>
                <a:moveTo>
                  <a:pt x="217" y="286"/>
                </a:moveTo>
                <a:cubicBezTo>
                  <a:pt x="390" y="286"/>
                  <a:pt x="390" y="286"/>
                  <a:pt x="390" y="286"/>
                </a:cubicBezTo>
                <a:cubicBezTo>
                  <a:pt x="390" y="225"/>
                  <a:pt x="390" y="225"/>
                  <a:pt x="390" y="225"/>
                </a:cubicBezTo>
                <a:cubicBezTo>
                  <a:pt x="291" y="225"/>
                  <a:pt x="291" y="225"/>
                  <a:pt x="291" y="225"/>
                </a:cubicBezTo>
                <a:cubicBezTo>
                  <a:pt x="291" y="168"/>
                  <a:pt x="291" y="168"/>
                  <a:pt x="291" y="168"/>
                </a:cubicBezTo>
                <a:cubicBezTo>
                  <a:pt x="380" y="168"/>
                  <a:pt x="380" y="168"/>
                  <a:pt x="380" y="168"/>
                </a:cubicBezTo>
                <a:cubicBezTo>
                  <a:pt x="380" y="110"/>
                  <a:pt x="380" y="110"/>
                  <a:pt x="380" y="110"/>
                </a:cubicBezTo>
                <a:cubicBezTo>
                  <a:pt x="291" y="110"/>
                  <a:pt x="291" y="110"/>
                  <a:pt x="291" y="110"/>
                </a:cubicBezTo>
                <a:cubicBezTo>
                  <a:pt x="291" y="61"/>
                  <a:pt x="291" y="61"/>
                  <a:pt x="291" y="61"/>
                </a:cubicBezTo>
                <a:cubicBezTo>
                  <a:pt x="386" y="61"/>
                  <a:pt x="386" y="61"/>
                  <a:pt x="386" y="61"/>
                </a:cubicBezTo>
                <a:cubicBezTo>
                  <a:pt x="386" y="0"/>
                  <a:pt x="386" y="0"/>
                  <a:pt x="386" y="0"/>
                </a:cubicBezTo>
                <a:cubicBezTo>
                  <a:pt x="217" y="0"/>
                  <a:pt x="217" y="0"/>
                  <a:pt x="217" y="0"/>
                </a:cubicBezTo>
                <a:lnTo>
                  <a:pt x="217" y="286"/>
                </a:lnTo>
                <a:close/>
                <a:moveTo>
                  <a:pt x="405" y="509"/>
                </a:moveTo>
                <a:cubicBezTo>
                  <a:pt x="405" y="322"/>
                  <a:pt x="405" y="322"/>
                  <a:pt x="405" y="322"/>
                </a:cubicBezTo>
                <a:cubicBezTo>
                  <a:pt x="331" y="322"/>
                  <a:pt x="331" y="322"/>
                  <a:pt x="331" y="322"/>
                </a:cubicBezTo>
                <a:cubicBezTo>
                  <a:pt x="331" y="528"/>
                  <a:pt x="331" y="528"/>
                  <a:pt x="331" y="528"/>
                </a:cubicBezTo>
                <a:cubicBezTo>
                  <a:pt x="331" y="556"/>
                  <a:pt x="323" y="563"/>
                  <a:pt x="309" y="563"/>
                </a:cubicBezTo>
                <a:cubicBezTo>
                  <a:pt x="295" y="563"/>
                  <a:pt x="286" y="556"/>
                  <a:pt x="286" y="528"/>
                </a:cubicBezTo>
                <a:cubicBezTo>
                  <a:pt x="286" y="322"/>
                  <a:pt x="286" y="322"/>
                  <a:pt x="286" y="322"/>
                </a:cubicBezTo>
                <a:cubicBezTo>
                  <a:pt x="212" y="322"/>
                  <a:pt x="212" y="322"/>
                  <a:pt x="212" y="322"/>
                </a:cubicBezTo>
                <a:cubicBezTo>
                  <a:pt x="212" y="509"/>
                  <a:pt x="212" y="509"/>
                  <a:pt x="212" y="509"/>
                </a:cubicBezTo>
                <a:cubicBezTo>
                  <a:pt x="212" y="589"/>
                  <a:pt x="246" y="613"/>
                  <a:pt x="309" y="613"/>
                </a:cubicBezTo>
                <a:cubicBezTo>
                  <a:pt x="371" y="613"/>
                  <a:pt x="405" y="589"/>
                  <a:pt x="405" y="509"/>
                </a:cubicBezTo>
                <a:moveTo>
                  <a:pt x="551" y="409"/>
                </a:moveTo>
                <a:cubicBezTo>
                  <a:pt x="551" y="429"/>
                  <a:pt x="541" y="443"/>
                  <a:pt x="520" y="443"/>
                </a:cubicBezTo>
                <a:cubicBezTo>
                  <a:pt x="505" y="443"/>
                  <a:pt x="505" y="443"/>
                  <a:pt x="505" y="443"/>
                </a:cubicBezTo>
                <a:cubicBezTo>
                  <a:pt x="505" y="376"/>
                  <a:pt x="505" y="376"/>
                  <a:pt x="505" y="376"/>
                </a:cubicBezTo>
                <a:cubicBezTo>
                  <a:pt x="519" y="376"/>
                  <a:pt x="519" y="376"/>
                  <a:pt x="519" y="376"/>
                </a:cubicBezTo>
                <a:cubicBezTo>
                  <a:pt x="542" y="376"/>
                  <a:pt x="551" y="386"/>
                  <a:pt x="551" y="409"/>
                </a:cubicBezTo>
                <a:moveTo>
                  <a:pt x="556" y="608"/>
                </a:moveTo>
                <a:cubicBezTo>
                  <a:pt x="635" y="608"/>
                  <a:pt x="635" y="608"/>
                  <a:pt x="635" y="608"/>
                </a:cubicBezTo>
                <a:cubicBezTo>
                  <a:pt x="635" y="604"/>
                  <a:pt x="635" y="604"/>
                  <a:pt x="635" y="604"/>
                </a:cubicBezTo>
                <a:cubicBezTo>
                  <a:pt x="631" y="601"/>
                  <a:pt x="629" y="598"/>
                  <a:pt x="627" y="595"/>
                </a:cubicBezTo>
                <a:cubicBezTo>
                  <a:pt x="623" y="589"/>
                  <a:pt x="623" y="570"/>
                  <a:pt x="623" y="555"/>
                </a:cubicBezTo>
                <a:cubicBezTo>
                  <a:pt x="623" y="531"/>
                  <a:pt x="623" y="531"/>
                  <a:pt x="623" y="531"/>
                </a:cubicBezTo>
                <a:cubicBezTo>
                  <a:pt x="623" y="493"/>
                  <a:pt x="613" y="470"/>
                  <a:pt x="577" y="467"/>
                </a:cubicBezTo>
                <a:cubicBezTo>
                  <a:pt x="577" y="466"/>
                  <a:pt x="577" y="466"/>
                  <a:pt x="577" y="466"/>
                </a:cubicBezTo>
                <a:cubicBezTo>
                  <a:pt x="611" y="461"/>
                  <a:pt x="625" y="436"/>
                  <a:pt x="625" y="398"/>
                </a:cubicBezTo>
                <a:cubicBezTo>
                  <a:pt x="625" y="354"/>
                  <a:pt x="604" y="322"/>
                  <a:pt x="547" y="322"/>
                </a:cubicBezTo>
                <a:cubicBezTo>
                  <a:pt x="431" y="322"/>
                  <a:pt x="431" y="322"/>
                  <a:pt x="431" y="322"/>
                </a:cubicBezTo>
                <a:cubicBezTo>
                  <a:pt x="431" y="608"/>
                  <a:pt x="431" y="608"/>
                  <a:pt x="431" y="608"/>
                </a:cubicBezTo>
                <a:cubicBezTo>
                  <a:pt x="505" y="608"/>
                  <a:pt x="505" y="608"/>
                  <a:pt x="505" y="608"/>
                </a:cubicBezTo>
                <a:cubicBezTo>
                  <a:pt x="505" y="493"/>
                  <a:pt x="505" y="493"/>
                  <a:pt x="505" y="493"/>
                </a:cubicBezTo>
                <a:cubicBezTo>
                  <a:pt x="525" y="493"/>
                  <a:pt x="525" y="493"/>
                  <a:pt x="525" y="493"/>
                </a:cubicBezTo>
                <a:cubicBezTo>
                  <a:pt x="543" y="493"/>
                  <a:pt x="549" y="502"/>
                  <a:pt x="549" y="534"/>
                </a:cubicBezTo>
                <a:cubicBezTo>
                  <a:pt x="549" y="553"/>
                  <a:pt x="549" y="553"/>
                  <a:pt x="549" y="553"/>
                </a:cubicBezTo>
                <a:cubicBezTo>
                  <a:pt x="549" y="565"/>
                  <a:pt x="549" y="592"/>
                  <a:pt x="556" y="608"/>
                </a:cubicBezTo>
                <a:moveTo>
                  <a:pt x="651" y="608"/>
                </a:moveTo>
                <a:cubicBezTo>
                  <a:pt x="823" y="608"/>
                  <a:pt x="823" y="608"/>
                  <a:pt x="823" y="608"/>
                </a:cubicBezTo>
                <a:cubicBezTo>
                  <a:pt x="823" y="547"/>
                  <a:pt x="823" y="547"/>
                  <a:pt x="823" y="547"/>
                </a:cubicBezTo>
                <a:cubicBezTo>
                  <a:pt x="725" y="547"/>
                  <a:pt x="725" y="547"/>
                  <a:pt x="725" y="547"/>
                </a:cubicBezTo>
                <a:cubicBezTo>
                  <a:pt x="725" y="490"/>
                  <a:pt x="725" y="490"/>
                  <a:pt x="725" y="490"/>
                </a:cubicBezTo>
                <a:cubicBezTo>
                  <a:pt x="814" y="490"/>
                  <a:pt x="814" y="490"/>
                  <a:pt x="814" y="490"/>
                </a:cubicBezTo>
                <a:cubicBezTo>
                  <a:pt x="814" y="432"/>
                  <a:pt x="814" y="432"/>
                  <a:pt x="814" y="432"/>
                </a:cubicBezTo>
                <a:cubicBezTo>
                  <a:pt x="725" y="432"/>
                  <a:pt x="725" y="432"/>
                  <a:pt x="725" y="432"/>
                </a:cubicBezTo>
                <a:cubicBezTo>
                  <a:pt x="725" y="383"/>
                  <a:pt x="725" y="383"/>
                  <a:pt x="725" y="383"/>
                </a:cubicBezTo>
                <a:cubicBezTo>
                  <a:pt x="820" y="383"/>
                  <a:pt x="820" y="383"/>
                  <a:pt x="820" y="383"/>
                </a:cubicBezTo>
                <a:cubicBezTo>
                  <a:pt x="820" y="322"/>
                  <a:pt x="820" y="322"/>
                  <a:pt x="820" y="322"/>
                </a:cubicBezTo>
                <a:cubicBezTo>
                  <a:pt x="651" y="322"/>
                  <a:pt x="651" y="322"/>
                  <a:pt x="651" y="322"/>
                </a:cubicBezTo>
                <a:lnTo>
                  <a:pt x="651" y="608"/>
                </a:lnTo>
                <a:close/>
                <a:moveTo>
                  <a:pt x="847" y="608"/>
                </a:moveTo>
                <a:cubicBezTo>
                  <a:pt x="914" y="608"/>
                  <a:pt x="914" y="608"/>
                  <a:pt x="914" y="608"/>
                </a:cubicBezTo>
                <a:cubicBezTo>
                  <a:pt x="914" y="529"/>
                  <a:pt x="914" y="529"/>
                  <a:pt x="914" y="529"/>
                </a:cubicBezTo>
                <a:cubicBezTo>
                  <a:pt x="847" y="529"/>
                  <a:pt x="847" y="529"/>
                  <a:pt x="847" y="529"/>
                </a:cubicBezTo>
                <a:lnTo>
                  <a:pt x="847" y="608"/>
                </a:lnTo>
                <a:close/>
                <a:moveTo>
                  <a:pt x="790" y="1252"/>
                </a:moveTo>
                <a:cubicBezTo>
                  <a:pt x="963" y="1252"/>
                  <a:pt x="963" y="1252"/>
                  <a:pt x="963" y="1252"/>
                </a:cubicBezTo>
                <a:cubicBezTo>
                  <a:pt x="963" y="1191"/>
                  <a:pt x="963" y="1191"/>
                  <a:pt x="963" y="1191"/>
                </a:cubicBezTo>
                <a:cubicBezTo>
                  <a:pt x="864" y="1191"/>
                  <a:pt x="864" y="1191"/>
                  <a:pt x="864" y="1191"/>
                </a:cubicBezTo>
                <a:cubicBezTo>
                  <a:pt x="864" y="1134"/>
                  <a:pt x="864" y="1134"/>
                  <a:pt x="864" y="1134"/>
                </a:cubicBezTo>
                <a:cubicBezTo>
                  <a:pt x="953" y="1134"/>
                  <a:pt x="953" y="1134"/>
                  <a:pt x="953" y="1134"/>
                </a:cubicBezTo>
                <a:cubicBezTo>
                  <a:pt x="953" y="1076"/>
                  <a:pt x="953" y="1076"/>
                  <a:pt x="953" y="1076"/>
                </a:cubicBezTo>
                <a:cubicBezTo>
                  <a:pt x="864" y="1076"/>
                  <a:pt x="864" y="1076"/>
                  <a:pt x="864" y="1076"/>
                </a:cubicBezTo>
                <a:cubicBezTo>
                  <a:pt x="864" y="1027"/>
                  <a:pt x="864" y="1027"/>
                  <a:pt x="864" y="1027"/>
                </a:cubicBezTo>
                <a:cubicBezTo>
                  <a:pt x="959" y="1027"/>
                  <a:pt x="959" y="1027"/>
                  <a:pt x="959" y="1027"/>
                </a:cubicBezTo>
                <a:cubicBezTo>
                  <a:pt x="959" y="966"/>
                  <a:pt x="959" y="966"/>
                  <a:pt x="959" y="966"/>
                </a:cubicBezTo>
                <a:cubicBezTo>
                  <a:pt x="790" y="966"/>
                  <a:pt x="790" y="966"/>
                  <a:pt x="790" y="966"/>
                </a:cubicBezTo>
                <a:lnTo>
                  <a:pt x="790" y="1252"/>
                </a:lnTo>
                <a:close/>
                <a:moveTo>
                  <a:pt x="1103" y="1053"/>
                </a:moveTo>
                <a:cubicBezTo>
                  <a:pt x="1103" y="1074"/>
                  <a:pt x="1093" y="1087"/>
                  <a:pt x="1072" y="1087"/>
                </a:cubicBezTo>
                <a:cubicBezTo>
                  <a:pt x="1057" y="1087"/>
                  <a:pt x="1057" y="1087"/>
                  <a:pt x="1057" y="1087"/>
                </a:cubicBezTo>
                <a:cubicBezTo>
                  <a:pt x="1057" y="1020"/>
                  <a:pt x="1057" y="1020"/>
                  <a:pt x="1057" y="1020"/>
                </a:cubicBezTo>
                <a:cubicBezTo>
                  <a:pt x="1072" y="1020"/>
                  <a:pt x="1072" y="1020"/>
                  <a:pt x="1072" y="1020"/>
                </a:cubicBezTo>
                <a:cubicBezTo>
                  <a:pt x="1094" y="1020"/>
                  <a:pt x="1103" y="1030"/>
                  <a:pt x="1103" y="1053"/>
                </a:cubicBezTo>
                <a:moveTo>
                  <a:pt x="1109" y="1252"/>
                </a:moveTo>
                <a:cubicBezTo>
                  <a:pt x="1188" y="1252"/>
                  <a:pt x="1188" y="1252"/>
                  <a:pt x="1188" y="1252"/>
                </a:cubicBezTo>
                <a:cubicBezTo>
                  <a:pt x="1188" y="1248"/>
                  <a:pt x="1188" y="1248"/>
                  <a:pt x="1188" y="1248"/>
                </a:cubicBezTo>
                <a:cubicBezTo>
                  <a:pt x="1183" y="1245"/>
                  <a:pt x="1181" y="1242"/>
                  <a:pt x="1179" y="1239"/>
                </a:cubicBezTo>
                <a:cubicBezTo>
                  <a:pt x="1176" y="1233"/>
                  <a:pt x="1176" y="1214"/>
                  <a:pt x="1176" y="1199"/>
                </a:cubicBezTo>
                <a:cubicBezTo>
                  <a:pt x="1176" y="1175"/>
                  <a:pt x="1176" y="1175"/>
                  <a:pt x="1176" y="1175"/>
                </a:cubicBezTo>
                <a:cubicBezTo>
                  <a:pt x="1176" y="1137"/>
                  <a:pt x="1165" y="1114"/>
                  <a:pt x="1129" y="1111"/>
                </a:cubicBezTo>
                <a:cubicBezTo>
                  <a:pt x="1129" y="1110"/>
                  <a:pt x="1129" y="1110"/>
                  <a:pt x="1129" y="1110"/>
                </a:cubicBezTo>
                <a:cubicBezTo>
                  <a:pt x="1163" y="1105"/>
                  <a:pt x="1178" y="1080"/>
                  <a:pt x="1178" y="1042"/>
                </a:cubicBezTo>
                <a:cubicBezTo>
                  <a:pt x="1178" y="998"/>
                  <a:pt x="1156" y="966"/>
                  <a:pt x="1099" y="966"/>
                </a:cubicBezTo>
                <a:cubicBezTo>
                  <a:pt x="983" y="966"/>
                  <a:pt x="983" y="966"/>
                  <a:pt x="983" y="966"/>
                </a:cubicBezTo>
                <a:cubicBezTo>
                  <a:pt x="983" y="1252"/>
                  <a:pt x="983" y="1252"/>
                  <a:pt x="983" y="1252"/>
                </a:cubicBezTo>
                <a:cubicBezTo>
                  <a:pt x="1057" y="1252"/>
                  <a:pt x="1057" y="1252"/>
                  <a:pt x="1057" y="1252"/>
                </a:cubicBezTo>
                <a:cubicBezTo>
                  <a:pt x="1057" y="1137"/>
                  <a:pt x="1057" y="1137"/>
                  <a:pt x="1057" y="1137"/>
                </a:cubicBezTo>
                <a:cubicBezTo>
                  <a:pt x="1077" y="1137"/>
                  <a:pt x="1077" y="1137"/>
                  <a:pt x="1077" y="1137"/>
                </a:cubicBezTo>
                <a:cubicBezTo>
                  <a:pt x="1095" y="1137"/>
                  <a:pt x="1101" y="1146"/>
                  <a:pt x="1101" y="1178"/>
                </a:cubicBezTo>
                <a:cubicBezTo>
                  <a:pt x="1101" y="1197"/>
                  <a:pt x="1101" y="1197"/>
                  <a:pt x="1101" y="1197"/>
                </a:cubicBezTo>
                <a:cubicBezTo>
                  <a:pt x="1101" y="1209"/>
                  <a:pt x="1101" y="1237"/>
                  <a:pt x="1109" y="1252"/>
                </a:cubicBezTo>
                <a:moveTo>
                  <a:pt x="1274" y="1173"/>
                </a:moveTo>
                <a:cubicBezTo>
                  <a:pt x="1207" y="1173"/>
                  <a:pt x="1207" y="1173"/>
                  <a:pt x="1207" y="1173"/>
                </a:cubicBezTo>
                <a:cubicBezTo>
                  <a:pt x="1207" y="1252"/>
                  <a:pt x="1207" y="1252"/>
                  <a:pt x="1207" y="1252"/>
                </a:cubicBezTo>
                <a:cubicBezTo>
                  <a:pt x="1274" y="1252"/>
                  <a:pt x="1274" y="1252"/>
                  <a:pt x="1274" y="1252"/>
                </a:cubicBezTo>
                <a:lnTo>
                  <a:pt x="1274" y="11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7763492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B1662AB-0023-4FFC-B9DA-817BF81AB37B}"/>
              </a:ext>
            </a:extLst>
          </p:cNvPr>
          <p:cNvGrpSpPr/>
          <p:nvPr/>
        </p:nvGrpSpPr>
        <p:grpSpPr>
          <a:xfrm>
            <a:off x="6911514" y="765175"/>
            <a:ext cx="4464972" cy="4245728"/>
            <a:chOff x="6708068" y="765175"/>
            <a:chExt cx="4464972" cy="4245728"/>
          </a:xfrm>
        </p:grpSpPr>
        <p:sp>
          <p:nvSpPr>
            <p:cNvPr id="21" name="ZoneTexte 20">
              <a:extLst>
                <a:ext uri="{FF2B5EF4-FFF2-40B4-BE49-F238E27FC236}">
                  <a16:creationId xmlns:a16="http://schemas.microsoft.com/office/drawing/2014/main" id="{D89FBBE5-D1FA-4410-B71A-108B0858767A}"/>
                </a:ext>
              </a:extLst>
            </p:cNvPr>
            <p:cNvSpPr txBox="1"/>
            <p:nvPr/>
          </p:nvSpPr>
          <p:spPr>
            <a:xfrm>
              <a:off x="6708068" y="765175"/>
              <a:ext cx="4253509" cy="523220"/>
            </a:xfrm>
            <a:prstGeom prst="rect">
              <a:avLst/>
            </a:prstGeom>
            <a:noFill/>
          </p:spPr>
          <p:txBody>
            <a:bodyPr wrap="square" rtlCol="0">
              <a:spAutoFit/>
            </a:bodyPr>
            <a:lstStyle/>
            <a:p>
              <a:r>
                <a:rPr lang="en-US" sz="2800" b="1" dirty="0">
                  <a:solidFill>
                    <a:schemeClr val="bg2"/>
                  </a:solidFill>
                </a:rPr>
                <a:t>GAME CHANGERS</a:t>
              </a:r>
            </a:p>
          </p:txBody>
        </p:sp>
        <p:sp>
          <p:nvSpPr>
            <p:cNvPr id="22" name="ZoneTexte 21">
              <a:extLst>
                <a:ext uri="{FF2B5EF4-FFF2-40B4-BE49-F238E27FC236}">
                  <a16:creationId xmlns:a16="http://schemas.microsoft.com/office/drawing/2014/main" id="{301C559C-1139-4318-9106-2EC1DBA54D80}"/>
                </a:ext>
              </a:extLst>
            </p:cNvPr>
            <p:cNvSpPr txBox="1"/>
            <p:nvPr/>
          </p:nvSpPr>
          <p:spPr>
            <a:xfrm>
              <a:off x="6708068" y="1594583"/>
              <a:ext cx="4464972" cy="3416320"/>
            </a:xfrm>
            <a:prstGeom prst="rect">
              <a:avLst/>
            </a:prstGeom>
            <a:noFill/>
          </p:spPr>
          <p:txBody>
            <a:bodyPr wrap="square" rtlCol="0">
              <a:spAutoFit/>
            </a:bodyPr>
            <a:lstStyle/>
            <a:p>
              <a:r>
                <a:rPr lang="en-US" sz="1200" dirty="0"/>
                <a:t>In our world of rapid change, the need for reliable information</a:t>
              </a:r>
              <a:br>
                <a:rPr lang="en-US" sz="1200" dirty="0"/>
              </a:br>
              <a:r>
                <a:rPr lang="en-US" sz="1200" dirty="0"/>
                <a:t>to make confident decisions has never been greater. </a:t>
              </a:r>
            </a:p>
            <a:p>
              <a:endParaRPr lang="en-US" sz="1200" dirty="0"/>
            </a:p>
            <a:p>
              <a:r>
                <a:rPr lang="en-US" sz="1200" dirty="0"/>
                <a:t>At Ipsos we believe our clients need more than a data supplier, they need a partner who can produce accurate and relevant information and turn it into actionable truth.  </a:t>
              </a:r>
            </a:p>
            <a:p>
              <a:endParaRPr lang="en-US" sz="1200" dirty="0"/>
            </a:p>
            <a:p>
              <a:r>
                <a:rPr lang="en-US" sz="1200" dirty="0"/>
                <a:t>This is why our passionately curious experts not only provide the most precise measurement, but shape it to provide True Understanding of Society, Markets and People. </a:t>
              </a:r>
            </a:p>
            <a:p>
              <a:endParaRPr lang="en-US" sz="1200" dirty="0"/>
            </a:p>
            <a:p>
              <a:r>
                <a:rPr lang="en-US" sz="1200" dirty="0"/>
                <a:t>To do this we use the best of science, technology</a:t>
              </a:r>
              <a:br>
                <a:rPr lang="en-US" sz="1200" dirty="0"/>
              </a:br>
              <a:r>
                <a:rPr lang="en-US" sz="1200" dirty="0"/>
                <a:t>and know-how and apply the principles of security, simplicity, speed and substance to everything we do.  </a:t>
              </a:r>
            </a:p>
            <a:p>
              <a:endParaRPr lang="en-US" sz="1200" dirty="0"/>
            </a:p>
            <a:p>
              <a:r>
                <a:rPr lang="en-US" sz="1200" dirty="0"/>
                <a:t>So that our clients can act faster, smarter and bolder. </a:t>
              </a:r>
            </a:p>
            <a:p>
              <a:r>
                <a:rPr lang="en-US" sz="1200" dirty="0"/>
                <a:t>Ultimately, success comes down to a simple truth:  </a:t>
              </a:r>
            </a:p>
            <a:p>
              <a:r>
                <a:rPr lang="en-US" sz="1200" b="1" dirty="0"/>
                <a:t>You act better when you are sure.</a:t>
              </a:r>
            </a:p>
          </p:txBody>
        </p:sp>
        <p:cxnSp>
          <p:nvCxnSpPr>
            <p:cNvPr id="14" name="Straight Connector 43">
              <a:extLst>
                <a:ext uri="{FF2B5EF4-FFF2-40B4-BE49-F238E27FC236}">
                  <a16:creationId xmlns:a16="http://schemas.microsoft.com/office/drawing/2014/main" id="{F1A3D135-64D9-4691-9BE9-11E9EBA78490}"/>
                </a:ext>
              </a:extLst>
            </p:cNvPr>
            <p:cNvCxnSpPr>
              <a:cxnSpLocks/>
            </p:cNvCxnSpPr>
            <p:nvPr/>
          </p:nvCxnSpPr>
          <p:spPr>
            <a:xfrm>
              <a:off x="6708068" y="1397947"/>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19" name="ZoneTexte 18">
            <a:extLst>
              <a:ext uri="{FF2B5EF4-FFF2-40B4-BE49-F238E27FC236}">
                <a16:creationId xmlns:a16="http://schemas.microsoft.com/office/drawing/2014/main" id="{0E136943-8177-4DA9-8B48-8C1D088B10FB}"/>
              </a:ext>
            </a:extLst>
          </p:cNvPr>
          <p:cNvSpPr txBox="1"/>
          <p:nvPr/>
        </p:nvSpPr>
        <p:spPr>
          <a:xfrm>
            <a:off x="830670" y="765175"/>
            <a:ext cx="3024329" cy="523220"/>
          </a:xfrm>
          <a:prstGeom prst="rect">
            <a:avLst/>
          </a:prstGeom>
          <a:noFill/>
        </p:spPr>
        <p:txBody>
          <a:bodyPr wrap="square" rtlCol="0">
            <a:spAutoFit/>
          </a:bodyPr>
          <a:lstStyle/>
          <a:p>
            <a:r>
              <a:rPr lang="en-US" sz="2800" b="1" dirty="0">
                <a:solidFill>
                  <a:schemeClr val="bg1"/>
                </a:solidFill>
              </a:rPr>
              <a:t>ABOUT IPSOS</a:t>
            </a:r>
          </a:p>
        </p:txBody>
      </p:sp>
      <p:sp>
        <p:nvSpPr>
          <p:cNvPr id="20" name="ZoneTexte 19">
            <a:extLst>
              <a:ext uri="{FF2B5EF4-FFF2-40B4-BE49-F238E27FC236}">
                <a16:creationId xmlns:a16="http://schemas.microsoft.com/office/drawing/2014/main" id="{E5CD3CC3-D6A9-4843-BAA5-63B9D755CE94}"/>
              </a:ext>
            </a:extLst>
          </p:cNvPr>
          <p:cNvSpPr txBox="1"/>
          <p:nvPr/>
        </p:nvSpPr>
        <p:spPr>
          <a:xfrm>
            <a:off x="815514" y="1594583"/>
            <a:ext cx="4464972" cy="4339650"/>
          </a:xfrm>
          <a:prstGeom prst="rect">
            <a:avLst/>
          </a:prstGeom>
          <a:noFill/>
        </p:spPr>
        <p:txBody>
          <a:bodyPr wrap="square" rtlCol="0">
            <a:spAutoFit/>
          </a:bodyPr>
          <a:lstStyle/>
          <a:p>
            <a:r>
              <a:rPr lang="en-US" sz="1200" dirty="0">
                <a:solidFill>
                  <a:schemeClr val="bg1"/>
                </a:solidFill>
              </a:rPr>
              <a:t>Ipsos is the third largest market research company in the world, present in 90 markets and employing more than 18,000 people.</a:t>
            </a:r>
          </a:p>
          <a:p>
            <a:r>
              <a:rPr lang="en-US" sz="1200" dirty="0">
                <a:solidFill>
                  <a:schemeClr val="bg1"/>
                </a:solidFill>
              </a:rPr>
              <a:t> </a:t>
            </a:r>
          </a:p>
          <a:p>
            <a:r>
              <a:rPr lang="en-US" sz="1200" dirty="0">
                <a:solidFill>
                  <a:schemeClr val="bg1"/>
                </a:solidFill>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p>
          <a:p>
            <a:r>
              <a:rPr lang="en-US" sz="1200" dirty="0">
                <a:solidFill>
                  <a:schemeClr val="bg1"/>
                </a:solidFill>
              </a:rPr>
              <a:t> </a:t>
            </a:r>
          </a:p>
          <a:p>
            <a:r>
              <a:rPr lang="en-US" sz="1200" dirty="0">
                <a:solidFill>
                  <a:schemeClr val="bg1"/>
                </a:solidFill>
              </a:rPr>
              <a:t>“Game Changers” – our tagline – summarizes our ambition to help our 5,000 clients to navigate more easily in our deeply changing world.</a:t>
            </a:r>
          </a:p>
          <a:p>
            <a:r>
              <a:rPr lang="en-US" sz="1200" dirty="0">
                <a:solidFill>
                  <a:schemeClr val="bg1"/>
                </a:solidFill>
              </a:rPr>
              <a:t> </a:t>
            </a:r>
          </a:p>
          <a:p>
            <a:r>
              <a:rPr lang="en-US" sz="1200" dirty="0">
                <a:solidFill>
                  <a:schemeClr val="bg1"/>
                </a:solidFill>
              </a:rPr>
              <a:t>Founded in France in 1975, Ipsos is listed on the Euronext Paris since July 1st, 1999. The company is part of the SBF 120 and the Mid-60 index and is eligible for the Deferred Settlement Service (SRD).</a:t>
            </a:r>
          </a:p>
          <a:p>
            <a:br>
              <a:rPr lang="en-US" sz="1200" dirty="0">
                <a:solidFill>
                  <a:schemeClr val="bg1"/>
                </a:solidFill>
              </a:rPr>
            </a:br>
            <a:r>
              <a:rPr lang="en-US" sz="1200" dirty="0">
                <a:solidFill>
                  <a:schemeClr val="bg1"/>
                </a:solidFill>
              </a:rPr>
              <a:t>ISIN code FR0000073298, Reuters ISOS.PA, </a:t>
            </a:r>
          </a:p>
          <a:p>
            <a:r>
              <a:rPr lang="en-US" sz="1200" dirty="0">
                <a:solidFill>
                  <a:schemeClr val="bg1"/>
                </a:solidFill>
              </a:rPr>
              <a:t>Bloomberg IPS:FP</a:t>
            </a:r>
          </a:p>
          <a:p>
            <a:pPr lvl="0">
              <a:defRPr/>
            </a:pPr>
            <a:r>
              <a:rPr lang="en-US" sz="1200" b="1" dirty="0">
                <a:solidFill>
                  <a:schemeClr val="bg1"/>
                </a:solidFill>
                <a:hlinkClick r:id="rId2">
                  <a:extLst>
                    <a:ext uri="{A12FA001-AC4F-418D-AE19-62706E023703}">
                      <ahyp:hlinkClr xmlns:ahyp="http://schemas.microsoft.com/office/drawing/2018/hyperlinkcolor" val="tx"/>
                    </a:ext>
                  </a:extLst>
                </a:hlinkClick>
              </a:rPr>
              <a:t>www.ipsos.com</a:t>
            </a:r>
            <a:endParaRPr lang="en-US" sz="1200" b="1" dirty="0">
              <a:solidFill>
                <a:schemeClr val="bg1"/>
              </a:solidFill>
            </a:endParaRPr>
          </a:p>
        </p:txBody>
      </p:sp>
      <p:cxnSp>
        <p:nvCxnSpPr>
          <p:cNvPr id="16" name="Straight Connector 43">
            <a:extLst>
              <a:ext uri="{FF2B5EF4-FFF2-40B4-BE49-F238E27FC236}">
                <a16:creationId xmlns:a16="http://schemas.microsoft.com/office/drawing/2014/main" id="{F59AF816-D4BC-4453-8D5D-2A4F36A0CC48}"/>
              </a:ext>
            </a:extLst>
          </p:cNvPr>
          <p:cNvCxnSpPr>
            <a:cxnSpLocks/>
          </p:cNvCxnSpPr>
          <p:nvPr/>
        </p:nvCxnSpPr>
        <p:spPr>
          <a:xfrm>
            <a:off x="815514" y="1397947"/>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6E49E3FA-57DC-41AF-B578-248FEC0DE3E0}"/>
              </a:ext>
            </a:extLst>
          </p:cNvPr>
          <p:cNvSpPr>
            <a:spLocks noGrp="1"/>
          </p:cNvSpPr>
          <p:nvPr>
            <p:ph type="sldNum" sz="quarter" idx="10"/>
          </p:nvPr>
        </p:nvSpPr>
        <p:spPr/>
        <p:txBody>
          <a:bodyPr/>
          <a:lstStyle/>
          <a:p>
            <a:fld id="{D61AABEC-672F-4B68-B914-690DA978312C}" type="slidenum">
              <a:rPr lang="en-US" smtClean="0"/>
              <a:pPr/>
              <a:t>13</a:t>
            </a:fld>
            <a:r>
              <a:rPr lang="en-US" dirty="0"/>
              <a:t> </a:t>
            </a:r>
          </a:p>
        </p:txBody>
      </p:sp>
    </p:spTree>
    <p:extLst>
      <p:ext uri="{BB962C8B-B14F-4D97-AF65-F5344CB8AC3E}">
        <p14:creationId xmlns:p14="http://schemas.microsoft.com/office/powerpoint/2010/main" val="40835000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3FC7A5-D04A-419D-9847-1D517A114B9A}"/>
              </a:ext>
            </a:extLst>
          </p:cNvPr>
          <p:cNvSpPr>
            <a:spLocks noGrp="1"/>
          </p:cNvSpPr>
          <p:nvPr>
            <p:ph type="sldNum" sz="quarter" idx="14"/>
          </p:nvPr>
        </p:nvSpPr>
        <p:spPr>
          <a:xfrm>
            <a:off x="407371" y="6237312"/>
            <a:ext cx="360037" cy="293117"/>
          </a:xfrm>
        </p:spPr>
        <p:txBody>
          <a:bodyPr/>
          <a:lstStyle/>
          <a:p>
            <a:fld id="{D61AABEC-672F-4B68-B914-690DA978312C}" type="slidenum">
              <a:rPr lang="en-GB" sz="800" smtClean="0"/>
              <a:pPr/>
              <a:t>2</a:t>
            </a:fld>
            <a:r>
              <a:rPr lang="en-GB" sz="800" dirty="0"/>
              <a:t> ‒ </a:t>
            </a:r>
          </a:p>
        </p:txBody>
      </p:sp>
      <p:sp>
        <p:nvSpPr>
          <p:cNvPr id="3" name="Title 2">
            <a:extLst>
              <a:ext uri="{FF2B5EF4-FFF2-40B4-BE49-F238E27FC236}">
                <a16:creationId xmlns:a16="http://schemas.microsoft.com/office/drawing/2014/main" id="{6BC1344A-2292-47C6-9D2E-19EC404E0A6E}"/>
              </a:ext>
            </a:extLst>
          </p:cNvPr>
          <p:cNvSpPr>
            <a:spLocks noGrp="1"/>
          </p:cNvSpPr>
          <p:nvPr>
            <p:ph type="title"/>
          </p:nvPr>
        </p:nvSpPr>
        <p:spPr>
          <a:xfrm>
            <a:off x="306718" y="438379"/>
            <a:ext cx="11382428" cy="480131"/>
          </a:xfrm>
        </p:spPr>
        <p:txBody>
          <a:bodyPr/>
          <a:lstStyle/>
          <a:p>
            <a:r>
              <a:rPr lang="nb-NO" dirty="0">
                <a:solidFill>
                  <a:schemeClr val="bg1"/>
                </a:solidFill>
              </a:rPr>
              <a:t>PROSJEKTINFORMASJON</a:t>
            </a:r>
          </a:p>
        </p:txBody>
      </p:sp>
      <p:sp>
        <p:nvSpPr>
          <p:cNvPr id="5" name="Text Placeholder 4">
            <a:extLst>
              <a:ext uri="{FF2B5EF4-FFF2-40B4-BE49-F238E27FC236}">
                <a16:creationId xmlns:a16="http://schemas.microsoft.com/office/drawing/2014/main" id="{A42C298C-334E-40CA-B091-0720CB64A770}"/>
              </a:ext>
            </a:extLst>
          </p:cNvPr>
          <p:cNvSpPr>
            <a:spLocks noGrp="1"/>
          </p:cNvSpPr>
          <p:nvPr>
            <p:ph type="body" sz="quarter" idx="24"/>
          </p:nvPr>
        </p:nvSpPr>
        <p:spPr>
          <a:xfrm>
            <a:off x="580895" y="3284984"/>
            <a:ext cx="3195009" cy="2000548"/>
          </a:xfrm>
        </p:spPr>
        <p:txBody>
          <a:bodyPr/>
          <a:lstStyle/>
          <a:p>
            <a:r>
              <a:rPr lang="nb-NO" sz="1100" dirty="0"/>
              <a:t>Foreningen 2 Foreldre ønsker å kartlegge hvordan den norske befolkningen 18 år + forholder seg til følgende spørsmål:</a:t>
            </a:r>
          </a:p>
          <a:p>
            <a:pPr marL="228600" indent="-228600">
              <a:buSzPct val="100000"/>
              <a:buFont typeface="+mj-lt"/>
              <a:buAutoNum type="arabicPeriod"/>
            </a:pPr>
            <a:r>
              <a:rPr lang="nb-NO" sz="1100" dirty="0"/>
              <a:t>Holdning til delt bosted i juridisk forstand som utgangspunkt i ny barnelov</a:t>
            </a:r>
          </a:p>
          <a:p>
            <a:pPr marL="228600" indent="-228600">
              <a:buSzPct val="100000"/>
              <a:buFont typeface="+mj-lt"/>
              <a:buAutoNum type="arabicPeriod"/>
            </a:pPr>
            <a:r>
              <a:rPr lang="nb-NO" sz="1100" dirty="0"/>
              <a:t>Hvordan respondenten </a:t>
            </a:r>
            <a:r>
              <a:rPr lang="nb-NO" sz="1100" u="sng" dirty="0"/>
              <a:t>tror</a:t>
            </a:r>
            <a:r>
              <a:rPr lang="nb-NO" sz="1100" dirty="0"/>
              <a:t> at gjeldende barnelov regulerer forholdet mellom foreldre som har brutt samlivet nå</a:t>
            </a:r>
          </a:p>
          <a:p>
            <a:pPr marL="228600" indent="-228600">
              <a:buSzPct val="100000"/>
              <a:buFont typeface="+mj-lt"/>
              <a:buAutoNum type="arabicPeriod"/>
            </a:pPr>
            <a:r>
              <a:rPr lang="nb-NO" sz="1100" dirty="0"/>
              <a:t>Tilliten til domstolene i barnesaker (både barnevern og foreldretvister)</a:t>
            </a:r>
          </a:p>
        </p:txBody>
      </p:sp>
      <p:sp>
        <p:nvSpPr>
          <p:cNvPr id="6" name="Text Placeholder 5">
            <a:extLst>
              <a:ext uri="{FF2B5EF4-FFF2-40B4-BE49-F238E27FC236}">
                <a16:creationId xmlns:a16="http://schemas.microsoft.com/office/drawing/2014/main" id="{652D3A96-8BEA-4207-B28B-559F90A36A1C}"/>
              </a:ext>
            </a:extLst>
          </p:cNvPr>
          <p:cNvSpPr>
            <a:spLocks noGrp="1"/>
          </p:cNvSpPr>
          <p:nvPr>
            <p:ph type="body" sz="quarter" idx="25"/>
          </p:nvPr>
        </p:nvSpPr>
        <p:spPr>
          <a:xfrm>
            <a:off x="4220302" y="3284984"/>
            <a:ext cx="3101653" cy="1897955"/>
          </a:xfrm>
        </p:spPr>
        <p:txBody>
          <a:bodyPr/>
          <a:lstStyle/>
          <a:p>
            <a:r>
              <a:rPr lang="nb-NO" sz="1100" dirty="0"/>
              <a:t>Målgruppen for undersøkelsen er et representativt utvalg av den norske befolkning over 18 år. Datainnsamlingen ble gjennomført i uke 19/20 og 21/22 2023. Undersøkelsen ble gjennomført i </a:t>
            </a:r>
            <a:r>
              <a:rPr lang="nb-NO" sz="1100" dirty="0" err="1"/>
              <a:t>Ipsos</a:t>
            </a:r>
            <a:r>
              <a:rPr lang="nb-NO" sz="1100" dirty="0"/>
              <a:t> </a:t>
            </a:r>
            <a:r>
              <a:rPr lang="nb-NO" sz="1100" dirty="0" err="1"/>
              <a:t>webbuss</a:t>
            </a:r>
            <a:r>
              <a:rPr lang="nb-NO" sz="1100" dirty="0"/>
              <a:t>.</a:t>
            </a:r>
          </a:p>
          <a:p>
            <a:r>
              <a:rPr lang="nb-NO" sz="1100" dirty="0"/>
              <a:t>Datagrunnlaget består av totalt 1088</a:t>
            </a:r>
            <a:r>
              <a:rPr lang="nb-NO" sz="1100" dirty="0">
                <a:solidFill>
                  <a:schemeClr val="tx2"/>
                </a:solidFill>
              </a:rPr>
              <a:t> </a:t>
            </a:r>
            <a:r>
              <a:rPr lang="nb-NO" sz="1100" dirty="0"/>
              <a:t>intervjuer. Resultatene er vektet på kjønn, alder og landsdel i henhold til offentlig statistikk for befolkningssammensetningen. </a:t>
            </a:r>
          </a:p>
          <a:p>
            <a:r>
              <a:rPr lang="nb-NO" sz="1100" dirty="0"/>
              <a:t> </a:t>
            </a:r>
          </a:p>
        </p:txBody>
      </p:sp>
      <p:sp>
        <p:nvSpPr>
          <p:cNvPr id="7" name="Text Placeholder 6">
            <a:extLst>
              <a:ext uri="{FF2B5EF4-FFF2-40B4-BE49-F238E27FC236}">
                <a16:creationId xmlns:a16="http://schemas.microsoft.com/office/drawing/2014/main" id="{DC368B92-7C22-4B1B-9DE0-6E4631E7263F}"/>
              </a:ext>
            </a:extLst>
          </p:cNvPr>
          <p:cNvSpPr>
            <a:spLocks noGrp="1"/>
          </p:cNvSpPr>
          <p:nvPr>
            <p:ph type="body" sz="quarter" idx="26"/>
          </p:nvPr>
        </p:nvSpPr>
        <p:spPr>
          <a:xfrm>
            <a:off x="7878834" y="3284984"/>
            <a:ext cx="3588668" cy="1692771"/>
          </a:xfrm>
        </p:spPr>
        <p:txBody>
          <a:bodyPr/>
          <a:lstStyle/>
          <a:p>
            <a:pPr>
              <a:spcBef>
                <a:spcPts val="1200"/>
              </a:spcBef>
            </a:pPr>
            <a:r>
              <a:rPr lang="nb-NO" sz="1100" dirty="0"/>
              <a:t>Alle resultater er angitt i prosent, og base for filtrerte spørsmål angis der dette forekommer.</a:t>
            </a:r>
          </a:p>
          <a:p>
            <a:pPr>
              <a:spcBef>
                <a:spcPts val="1200"/>
              </a:spcBef>
            </a:pPr>
            <a:r>
              <a:rPr lang="nb-NO" sz="1100" dirty="0"/>
              <a:t>Der hvor det forekommer signifikante forskjeller mellom undergrupper i forhold til total er dette kommentert og illustrert med følgende symbol:</a:t>
            </a:r>
          </a:p>
          <a:p>
            <a:pPr>
              <a:spcBef>
                <a:spcPts val="1200"/>
              </a:spcBef>
            </a:pPr>
            <a:endParaRPr lang="nb-NO" sz="1100" dirty="0"/>
          </a:p>
          <a:p>
            <a:pPr>
              <a:spcBef>
                <a:spcPts val="1200"/>
              </a:spcBef>
            </a:pPr>
            <a:endParaRPr lang="nb-NO" sz="1100" dirty="0">
              <a:solidFill>
                <a:schemeClr val="accent3"/>
              </a:solidFill>
            </a:endParaRPr>
          </a:p>
        </p:txBody>
      </p:sp>
      <p:sp>
        <p:nvSpPr>
          <p:cNvPr id="8" name="Text Placeholder 7">
            <a:extLst>
              <a:ext uri="{FF2B5EF4-FFF2-40B4-BE49-F238E27FC236}">
                <a16:creationId xmlns:a16="http://schemas.microsoft.com/office/drawing/2014/main" id="{94839BF7-CE72-4F4E-B681-F7E990877CFA}"/>
              </a:ext>
            </a:extLst>
          </p:cNvPr>
          <p:cNvSpPr>
            <a:spLocks noGrp="1"/>
          </p:cNvSpPr>
          <p:nvPr>
            <p:ph type="body" sz="quarter" idx="27"/>
          </p:nvPr>
        </p:nvSpPr>
        <p:spPr>
          <a:xfrm>
            <a:off x="581587" y="2883703"/>
            <a:ext cx="3195009" cy="276999"/>
          </a:xfrm>
        </p:spPr>
        <p:txBody>
          <a:bodyPr/>
          <a:lstStyle/>
          <a:p>
            <a:r>
              <a:rPr lang="nb-NO" sz="1800" dirty="0"/>
              <a:t>FORMÅL</a:t>
            </a:r>
          </a:p>
        </p:txBody>
      </p:sp>
      <p:sp>
        <p:nvSpPr>
          <p:cNvPr id="9" name="Text Placeholder 8">
            <a:extLst>
              <a:ext uri="{FF2B5EF4-FFF2-40B4-BE49-F238E27FC236}">
                <a16:creationId xmlns:a16="http://schemas.microsoft.com/office/drawing/2014/main" id="{1D8753B2-01AD-4B4C-BC57-8BD2DE89F200}"/>
              </a:ext>
            </a:extLst>
          </p:cNvPr>
          <p:cNvSpPr>
            <a:spLocks noGrp="1"/>
          </p:cNvSpPr>
          <p:nvPr>
            <p:ph type="body" sz="quarter" idx="28"/>
          </p:nvPr>
        </p:nvSpPr>
        <p:spPr>
          <a:xfrm>
            <a:off x="4126946" y="2883703"/>
            <a:ext cx="3195009" cy="276999"/>
          </a:xfrm>
        </p:spPr>
        <p:txBody>
          <a:bodyPr/>
          <a:lstStyle/>
          <a:p>
            <a:r>
              <a:rPr lang="nb-NO" sz="1800" dirty="0" err="1">
                <a:solidFill>
                  <a:schemeClr val="bg2"/>
                </a:solidFill>
              </a:rPr>
              <a:t>METODe</a:t>
            </a:r>
            <a:endParaRPr lang="nb-NO" sz="1800" dirty="0">
              <a:solidFill>
                <a:schemeClr val="bg2"/>
              </a:solidFill>
            </a:endParaRPr>
          </a:p>
        </p:txBody>
      </p:sp>
      <p:sp>
        <p:nvSpPr>
          <p:cNvPr id="10" name="Text Placeholder 9">
            <a:extLst>
              <a:ext uri="{FF2B5EF4-FFF2-40B4-BE49-F238E27FC236}">
                <a16:creationId xmlns:a16="http://schemas.microsoft.com/office/drawing/2014/main" id="{004B8D4A-1160-4E98-B7B2-7A8573054A2E}"/>
              </a:ext>
            </a:extLst>
          </p:cNvPr>
          <p:cNvSpPr>
            <a:spLocks noGrp="1"/>
          </p:cNvSpPr>
          <p:nvPr>
            <p:ph type="body" sz="quarter" idx="29"/>
          </p:nvPr>
        </p:nvSpPr>
        <p:spPr>
          <a:xfrm>
            <a:off x="7878834" y="2886782"/>
            <a:ext cx="3195009" cy="276999"/>
          </a:xfrm>
        </p:spPr>
        <p:txBody>
          <a:bodyPr/>
          <a:lstStyle/>
          <a:p>
            <a:r>
              <a:rPr lang="nb-NO" sz="1800" dirty="0">
                <a:solidFill>
                  <a:schemeClr val="bg2"/>
                </a:solidFill>
              </a:rPr>
              <a:t>ANALYSE</a:t>
            </a:r>
          </a:p>
        </p:txBody>
      </p:sp>
      <p:pic>
        <p:nvPicPr>
          <p:cNvPr id="14" name="Picture 13" descr="A group of people standing in front of a crowd&#10;&#10;Description automatically generated">
            <a:extLst>
              <a:ext uri="{FF2B5EF4-FFF2-40B4-BE49-F238E27FC236}">
                <a16:creationId xmlns:a16="http://schemas.microsoft.com/office/drawing/2014/main" id="{8325D2C6-FF5C-41A3-B2EA-F30BF9BCEA4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2"/>
          <a:stretch/>
        </p:blipFill>
        <p:spPr>
          <a:xfrm>
            <a:off x="0" y="1"/>
            <a:ext cx="12192000" cy="2630677"/>
          </a:xfrm>
          <a:prstGeom prst="rect">
            <a:avLst/>
          </a:prstGeom>
        </p:spPr>
      </p:pic>
      <p:sp>
        <p:nvSpPr>
          <p:cNvPr id="4" name="Rectangle 3">
            <a:extLst>
              <a:ext uri="{FF2B5EF4-FFF2-40B4-BE49-F238E27FC236}">
                <a16:creationId xmlns:a16="http://schemas.microsoft.com/office/drawing/2014/main" id="{3E0791F2-E6AD-9557-469F-A8D19324F26A}"/>
              </a:ext>
            </a:extLst>
          </p:cNvPr>
          <p:cNvSpPr/>
          <p:nvPr/>
        </p:nvSpPr>
        <p:spPr>
          <a:xfrm>
            <a:off x="10299560" y="5757705"/>
            <a:ext cx="1567543" cy="371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nvGrpSpPr>
          <p:cNvPr id="11" name="Gruppe 5">
            <a:extLst>
              <a:ext uri="{FF2B5EF4-FFF2-40B4-BE49-F238E27FC236}">
                <a16:creationId xmlns:a16="http://schemas.microsoft.com/office/drawing/2014/main" id="{A41946F5-ABF0-EF38-8BA1-2E04D6C5AFE7}"/>
              </a:ext>
            </a:extLst>
          </p:cNvPr>
          <p:cNvGrpSpPr/>
          <p:nvPr/>
        </p:nvGrpSpPr>
        <p:grpSpPr>
          <a:xfrm>
            <a:off x="7878834" y="4462467"/>
            <a:ext cx="1886992" cy="551195"/>
            <a:chOff x="6790292" y="3900105"/>
            <a:chExt cx="1886992" cy="551195"/>
          </a:xfrm>
        </p:grpSpPr>
        <p:grpSp>
          <p:nvGrpSpPr>
            <p:cNvPr id="12" name="Gruppe 3">
              <a:extLst>
                <a:ext uri="{FF2B5EF4-FFF2-40B4-BE49-F238E27FC236}">
                  <a16:creationId xmlns:a16="http://schemas.microsoft.com/office/drawing/2014/main" id="{89C5F683-F4D2-BFC9-9779-E408D0C86C5C}"/>
                </a:ext>
              </a:extLst>
            </p:cNvPr>
            <p:cNvGrpSpPr/>
            <p:nvPr/>
          </p:nvGrpSpPr>
          <p:grpSpPr>
            <a:xfrm>
              <a:off x="6790292" y="3900105"/>
              <a:ext cx="218977" cy="551195"/>
              <a:chOff x="6787315" y="3618003"/>
              <a:chExt cx="218977" cy="551195"/>
            </a:xfrm>
          </p:grpSpPr>
          <p:grpSp>
            <p:nvGrpSpPr>
              <p:cNvPr id="16" name="SigEvoPos">
                <a:extLst>
                  <a:ext uri="{FF2B5EF4-FFF2-40B4-BE49-F238E27FC236}">
                    <a16:creationId xmlns:a16="http://schemas.microsoft.com/office/drawing/2014/main" id="{A813A144-B925-17B1-0E44-F51BEA22637E}"/>
                  </a:ext>
                </a:extLst>
              </p:cNvPr>
              <p:cNvGrpSpPr/>
              <p:nvPr/>
            </p:nvGrpSpPr>
            <p:grpSpPr>
              <a:xfrm>
                <a:off x="6790292" y="3618003"/>
                <a:ext cx="216000" cy="216000"/>
                <a:chOff x="7716328" y="2107098"/>
                <a:chExt cx="216000" cy="216000"/>
              </a:xfrm>
            </p:grpSpPr>
            <p:sp>
              <p:nvSpPr>
                <p:cNvPr id="22" name="Oval 31">
                  <a:extLst>
                    <a:ext uri="{FF2B5EF4-FFF2-40B4-BE49-F238E27FC236}">
                      <a16:creationId xmlns:a16="http://schemas.microsoft.com/office/drawing/2014/main" id="{565E15BF-2A9B-F19E-A2F3-83E8DA0E60A9}"/>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b-NO" sz="1200" dirty="0"/>
                </a:p>
              </p:txBody>
            </p:sp>
            <p:grpSp>
              <p:nvGrpSpPr>
                <p:cNvPr id="23" name="Group 32">
                  <a:extLst>
                    <a:ext uri="{FF2B5EF4-FFF2-40B4-BE49-F238E27FC236}">
                      <a16:creationId xmlns:a16="http://schemas.microsoft.com/office/drawing/2014/main" id="{33C2EAA2-BB9D-0DA2-F3E9-E2850BE97ECE}"/>
                    </a:ext>
                  </a:extLst>
                </p:cNvPr>
                <p:cNvGrpSpPr>
                  <a:grpSpLocks noChangeAspect="1"/>
                </p:cNvGrpSpPr>
                <p:nvPr/>
              </p:nvGrpSpPr>
              <p:grpSpPr>
                <a:xfrm rot="18900000">
                  <a:off x="7758327" y="2179098"/>
                  <a:ext cx="132003" cy="72000"/>
                  <a:chOff x="10144608" y="897887"/>
                  <a:chExt cx="326542" cy="178110"/>
                </a:xfrm>
              </p:grpSpPr>
              <p:sp>
                <p:nvSpPr>
                  <p:cNvPr id="24" name="Line 34">
                    <a:extLst>
                      <a:ext uri="{FF2B5EF4-FFF2-40B4-BE49-F238E27FC236}">
                        <a16:creationId xmlns:a16="http://schemas.microsoft.com/office/drawing/2014/main" id="{425A0043-3F3C-11F1-5458-FEBE4EE197C8}"/>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Rectangle 11">
                    <a:extLst>
                      <a:ext uri="{FF2B5EF4-FFF2-40B4-BE49-F238E27FC236}">
                        <a16:creationId xmlns:a16="http://schemas.microsoft.com/office/drawing/2014/main" id="{D6095081-9285-E7C3-99B9-3299EC0D9D3F}"/>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b-NO" sz="1100" dirty="0">
                      <a:solidFill>
                        <a:schemeClr val="bg1"/>
                      </a:solidFill>
                    </a:endParaRPr>
                  </a:p>
                </p:txBody>
              </p:sp>
            </p:grpSp>
          </p:grpSp>
          <p:grpSp>
            <p:nvGrpSpPr>
              <p:cNvPr id="17" name="SigEvoNeg">
                <a:extLst>
                  <a:ext uri="{FF2B5EF4-FFF2-40B4-BE49-F238E27FC236}">
                    <a16:creationId xmlns:a16="http://schemas.microsoft.com/office/drawing/2014/main" id="{E0DDBEFD-BD87-B844-6859-36854CB0676D}"/>
                  </a:ext>
                </a:extLst>
              </p:cNvPr>
              <p:cNvGrpSpPr/>
              <p:nvPr/>
            </p:nvGrpSpPr>
            <p:grpSpPr>
              <a:xfrm>
                <a:off x="6787315" y="3953198"/>
                <a:ext cx="216000" cy="216000"/>
                <a:chOff x="8011603" y="2107098"/>
                <a:chExt cx="216000" cy="216000"/>
              </a:xfrm>
            </p:grpSpPr>
            <p:sp>
              <p:nvSpPr>
                <p:cNvPr id="18" name="Oval 26">
                  <a:extLst>
                    <a:ext uri="{FF2B5EF4-FFF2-40B4-BE49-F238E27FC236}">
                      <a16:creationId xmlns:a16="http://schemas.microsoft.com/office/drawing/2014/main" id="{C2C6CF7C-B3C2-A157-973B-F808406DC0C0}"/>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b-NO" sz="1200" dirty="0"/>
                </a:p>
              </p:txBody>
            </p:sp>
            <p:grpSp>
              <p:nvGrpSpPr>
                <p:cNvPr id="19" name="Group 27">
                  <a:extLst>
                    <a:ext uri="{FF2B5EF4-FFF2-40B4-BE49-F238E27FC236}">
                      <a16:creationId xmlns:a16="http://schemas.microsoft.com/office/drawing/2014/main" id="{A78EB56E-3501-5400-DC52-B4188EF5E500}"/>
                    </a:ext>
                  </a:extLst>
                </p:cNvPr>
                <p:cNvGrpSpPr>
                  <a:grpSpLocks noChangeAspect="1"/>
                </p:cNvGrpSpPr>
                <p:nvPr/>
              </p:nvGrpSpPr>
              <p:grpSpPr>
                <a:xfrm rot="2700000">
                  <a:off x="8053602" y="2179098"/>
                  <a:ext cx="132003" cy="72000"/>
                  <a:chOff x="10144608" y="897887"/>
                  <a:chExt cx="326542" cy="178110"/>
                </a:xfrm>
              </p:grpSpPr>
              <p:sp>
                <p:nvSpPr>
                  <p:cNvPr id="20" name="Line 34">
                    <a:extLst>
                      <a:ext uri="{FF2B5EF4-FFF2-40B4-BE49-F238E27FC236}">
                        <a16:creationId xmlns:a16="http://schemas.microsoft.com/office/drawing/2014/main" id="{400188EA-D37A-4041-4FA3-C938D6848299}"/>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21" name="Rectangle 11">
                    <a:extLst>
                      <a:ext uri="{FF2B5EF4-FFF2-40B4-BE49-F238E27FC236}">
                        <a16:creationId xmlns:a16="http://schemas.microsoft.com/office/drawing/2014/main" id="{1817B8D1-F2A3-03E0-E8B2-110C1915ACA5}"/>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b-NO" sz="1100" dirty="0">
                      <a:solidFill>
                        <a:schemeClr val="bg1"/>
                      </a:solidFill>
                    </a:endParaRPr>
                  </a:p>
                </p:txBody>
              </p:sp>
            </p:grpSp>
          </p:grpSp>
        </p:grpSp>
        <p:sp>
          <p:nvSpPr>
            <p:cNvPr id="13" name="TekstSylinder 4">
              <a:extLst>
                <a:ext uri="{FF2B5EF4-FFF2-40B4-BE49-F238E27FC236}">
                  <a16:creationId xmlns:a16="http://schemas.microsoft.com/office/drawing/2014/main" id="{E120AF24-B762-54BB-3462-055BFE153A21}"/>
                </a:ext>
              </a:extLst>
            </p:cNvPr>
            <p:cNvSpPr txBox="1"/>
            <p:nvPr/>
          </p:nvSpPr>
          <p:spPr>
            <a:xfrm>
              <a:off x="7172064" y="3930593"/>
              <a:ext cx="1505220" cy="169277"/>
            </a:xfrm>
            <a:prstGeom prst="rect">
              <a:avLst/>
            </a:prstGeom>
          </p:spPr>
          <p:txBody>
            <a:bodyPr vert="horz" wrap="none" lIns="0" tIns="0" rIns="0" bIns="0" rtlCol="0">
              <a:spAutoFit/>
            </a:bodyPr>
            <a:lstStyle/>
            <a:p>
              <a:pPr algn="l"/>
              <a:r>
                <a:rPr lang="nb-NO" sz="1100" dirty="0" err="1"/>
                <a:t>Signfikant</a:t>
              </a:r>
              <a:r>
                <a:rPr lang="nb-NO" sz="1100" dirty="0"/>
                <a:t> høyere enn </a:t>
              </a:r>
              <a:r>
                <a:rPr lang="nb-NO" sz="1100" dirty="0" err="1"/>
                <a:t>X</a:t>
              </a:r>
              <a:endParaRPr lang="nb-NO" sz="1100" dirty="0"/>
            </a:p>
          </p:txBody>
        </p:sp>
        <p:sp>
          <p:nvSpPr>
            <p:cNvPr id="15" name="TekstSylinder 40">
              <a:extLst>
                <a:ext uri="{FF2B5EF4-FFF2-40B4-BE49-F238E27FC236}">
                  <a16:creationId xmlns:a16="http://schemas.microsoft.com/office/drawing/2014/main" id="{71F55FDD-A4DA-92F1-986E-DCBFBDD050DC}"/>
                </a:ext>
              </a:extLst>
            </p:cNvPr>
            <p:cNvSpPr txBox="1"/>
            <p:nvPr/>
          </p:nvSpPr>
          <p:spPr>
            <a:xfrm>
              <a:off x="7172064" y="4261637"/>
              <a:ext cx="1450718" cy="169277"/>
            </a:xfrm>
            <a:prstGeom prst="rect">
              <a:avLst/>
            </a:prstGeom>
          </p:spPr>
          <p:txBody>
            <a:bodyPr vert="horz" wrap="none" lIns="0" tIns="0" rIns="0" bIns="0" rtlCol="0">
              <a:spAutoFit/>
            </a:bodyPr>
            <a:lstStyle/>
            <a:p>
              <a:pPr algn="l"/>
              <a:r>
                <a:rPr lang="nb-NO" sz="1100" dirty="0" err="1"/>
                <a:t>Signfikant</a:t>
              </a:r>
              <a:r>
                <a:rPr lang="nb-NO" sz="1100" dirty="0"/>
                <a:t> lavere enn </a:t>
              </a:r>
              <a:r>
                <a:rPr lang="nb-NO" sz="1100" dirty="0" err="1"/>
                <a:t>X</a:t>
              </a:r>
              <a:endParaRPr lang="nb-NO" sz="1100" dirty="0"/>
            </a:p>
          </p:txBody>
        </p:sp>
      </p:grpSp>
    </p:spTree>
    <p:extLst>
      <p:ext uri="{BB962C8B-B14F-4D97-AF65-F5344CB8AC3E}">
        <p14:creationId xmlns:p14="http://schemas.microsoft.com/office/powerpoint/2010/main" val="142150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5C5C9-9C59-55C8-BE10-8AD67878BC4D}"/>
              </a:ext>
            </a:extLst>
          </p:cNvPr>
          <p:cNvSpPr>
            <a:spLocks noGrp="1"/>
          </p:cNvSpPr>
          <p:nvPr>
            <p:ph type="ctrTitle"/>
          </p:nvPr>
        </p:nvSpPr>
        <p:spPr/>
        <p:txBody>
          <a:bodyPr/>
          <a:lstStyle/>
          <a:p>
            <a:r>
              <a:rPr lang="en-US" dirty="0"/>
              <a:t>Resultater</a:t>
            </a:r>
          </a:p>
        </p:txBody>
      </p:sp>
    </p:spTree>
    <p:extLst>
      <p:ext uri="{BB962C8B-B14F-4D97-AF65-F5344CB8AC3E}">
        <p14:creationId xmlns:p14="http://schemas.microsoft.com/office/powerpoint/2010/main" val="2899930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A13D4E-6F01-3FD4-BC62-B61A08B548ED}"/>
              </a:ext>
            </a:extLst>
          </p:cNvPr>
          <p:cNvPicPr>
            <a:picLocks noChangeAspect="1"/>
          </p:cNvPicPr>
          <p:nvPr/>
        </p:nvPicPr>
        <p:blipFill>
          <a:blip r:embed="rId2"/>
          <a:stretch>
            <a:fillRect/>
          </a:stretch>
        </p:blipFill>
        <p:spPr>
          <a:xfrm>
            <a:off x="9753464" y="5267301"/>
            <a:ext cx="1943371" cy="438211"/>
          </a:xfrm>
          <a:prstGeom prst="rect">
            <a:avLst/>
          </a:prstGeom>
        </p:spPr>
      </p:pic>
      <p:sp>
        <p:nvSpPr>
          <p:cNvPr id="2" name="Plassholder for lysbildenummer 1">
            <a:extLst>
              <a:ext uri="{FF2B5EF4-FFF2-40B4-BE49-F238E27FC236}">
                <a16:creationId xmlns:a16="http://schemas.microsoft.com/office/drawing/2014/main" id="{4704F41F-6C16-4EED-9C68-25CA0E2FE2BB}"/>
              </a:ext>
            </a:extLst>
          </p:cNvPr>
          <p:cNvSpPr>
            <a:spLocks noGrp="1"/>
          </p:cNvSpPr>
          <p:nvPr>
            <p:ph type="sldNum" sz="quarter" idx="18"/>
          </p:nvPr>
        </p:nvSpPr>
        <p:spPr/>
        <p:txBody>
          <a:bodyPr/>
          <a:lstStyle/>
          <a:p>
            <a:fld id="{D61AABEC-672F-4B68-B914-690DA978312C}" type="slidenum">
              <a:rPr lang="nb-NO" smtClean="0"/>
              <a:pPr/>
              <a:t>4</a:t>
            </a:fld>
            <a:r>
              <a:rPr lang="nb-NO" dirty="0"/>
              <a:t> </a:t>
            </a:r>
          </a:p>
        </p:txBody>
      </p:sp>
      <p:sp>
        <p:nvSpPr>
          <p:cNvPr id="5" name="Plassholder for tekst 4">
            <a:extLst>
              <a:ext uri="{FF2B5EF4-FFF2-40B4-BE49-F238E27FC236}">
                <a16:creationId xmlns:a16="http://schemas.microsoft.com/office/drawing/2014/main" id="{A999A219-7114-4451-ACCA-FC2BE3484064}"/>
              </a:ext>
            </a:extLst>
          </p:cNvPr>
          <p:cNvSpPr>
            <a:spLocks noGrp="1"/>
          </p:cNvSpPr>
          <p:nvPr>
            <p:ph type="body" sz="quarter" idx="19"/>
          </p:nvPr>
        </p:nvSpPr>
        <p:spPr>
          <a:xfrm>
            <a:off x="407988" y="621238"/>
            <a:ext cx="10652334" cy="349702"/>
          </a:xfrm>
        </p:spPr>
        <p:txBody>
          <a:bodyPr/>
          <a:lstStyle/>
          <a:p>
            <a:r>
              <a:rPr lang="nb-NO" sz="2000" b="1" dirty="0"/>
              <a:t>Nesten 2 av 3 mener at den nye loven bør ha «delt bosted» som hovedregel, spesielt blant de som har vært involvert i en foreldretvist eller barnevernssak</a:t>
            </a:r>
          </a:p>
        </p:txBody>
      </p:sp>
      <p:sp>
        <p:nvSpPr>
          <p:cNvPr id="14" name="Text Box 5">
            <a:extLst>
              <a:ext uri="{FF2B5EF4-FFF2-40B4-BE49-F238E27FC236}">
                <a16:creationId xmlns:a16="http://schemas.microsoft.com/office/drawing/2014/main" id="{868F37A9-8055-4848-9859-98082BA04E6B}"/>
              </a:ext>
            </a:extLst>
          </p:cNvPr>
          <p:cNvSpPr txBox="1">
            <a:spLocks noChangeArrowheads="1"/>
          </p:cNvSpPr>
          <p:nvPr/>
        </p:nvSpPr>
        <p:spPr bwMode="auto">
          <a:xfrm>
            <a:off x="929620" y="5972786"/>
            <a:ext cx="10130702" cy="623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lnSpc>
                <a:spcPct val="90000"/>
              </a:lnSpc>
              <a:spcBef>
                <a:spcPct val="0"/>
              </a:spcBef>
              <a:spcAft>
                <a:spcPct val="0"/>
              </a:spcAft>
            </a:pPr>
            <a:r>
              <a:rPr lang="nb-NO" sz="900" dirty="0">
                <a:solidFill>
                  <a:schemeClr val="bg1">
                    <a:lumMod val="50000"/>
                  </a:schemeClr>
                </a:solidFill>
              </a:rPr>
              <a:t>Q:f2f1. Regjeringen skal legge fram forslag til ny Lov om barn og foreldre for Stortinget i 2024. (Loven omhandler ikke barnevern). I Hurdalsplattformen har regjeringen lovet å vurdere å gjøre «delt bosted» til barnelovens hovedregel.   «Delt bosted» i barneloven betyr at foreldre som skilles/bryter samlivet har juridisk likeverd som utgangspunkt når de skal ta viktige avgjørelser om omsorgen for felles barn.   Med «delt bosted» har foreldrene i utgangspunktet lik myndighet til å ta avgjørelser, men også full avtalefrihet, i viktige spørsmål som flytting av felles barn, bostedsordning og samværsfordeling mellom foreldrene (f.eks. 70/30, 60/40 eller 50/50 samvær). Lik myndighet gjelder også beslutninger om skole, barnehage og organiserte fritidsaktiviteter.  Mener du at den nye Loven om barn og foreldre bør ha «delt bosted» i betydningen «juridisk likeverd mellom foreldrene» som hovedregel? // Base: Total N=1087</a:t>
            </a:r>
            <a:endParaRPr lang="nb-NO" sz="1100" dirty="0">
              <a:solidFill>
                <a:schemeClr val="bg1">
                  <a:lumMod val="50000"/>
                </a:schemeClr>
              </a:solidFill>
              <a:cs typeface="Arial" pitchFamily="34" charset="0"/>
            </a:endParaRPr>
          </a:p>
        </p:txBody>
      </p:sp>
      <p:sp>
        <p:nvSpPr>
          <p:cNvPr id="6" name="Rectangle 5">
            <a:extLst>
              <a:ext uri="{FF2B5EF4-FFF2-40B4-BE49-F238E27FC236}">
                <a16:creationId xmlns:a16="http://schemas.microsoft.com/office/drawing/2014/main" id="{7AEF4CE6-B238-B03A-DD3D-CBBD71D18E9E}"/>
              </a:ext>
            </a:extLst>
          </p:cNvPr>
          <p:cNvSpPr/>
          <p:nvPr/>
        </p:nvSpPr>
        <p:spPr>
          <a:xfrm>
            <a:off x="7541066" y="2842984"/>
            <a:ext cx="3184084" cy="1362532"/>
          </a:xfrm>
          <a:prstGeom prst="rect">
            <a:avLst/>
          </a:prstGeom>
          <a:solidFill>
            <a:schemeClr val="bg1">
              <a:lumMod val="95000"/>
            </a:scheme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200" b="1" dirty="0">
                <a:solidFill>
                  <a:schemeClr val="tx1">
                    <a:lumMod val="90000"/>
                    <a:lumOff val="10000"/>
                  </a:schemeClr>
                </a:solidFill>
              </a:rPr>
              <a:t>En større andel </a:t>
            </a:r>
            <a:r>
              <a:rPr lang="nb-NO" sz="1200" dirty="0">
                <a:solidFill>
                  <a:schemeClr val="tx1">
                    <a:lumMod val="90000"/>
                    <a:lumOff val="10000"/>
                  </a:schemeClr>
                </a:solidFill>
              </a:rPr>
              <a:t>av de som enten har vært </a:t>
            </a:r>
            <a:r>
              <a:rPr lang="nb-NO" sz="1200" b="1" dirty="0">
                <a:solidFill>
                  <a:schemeClr val="tx1">
                    <a:lumMod val="90000"/>
                    <a:lumOff val="10000"/>
                  </a:schemeClr>
                </a:solidFill>
              </a:rPr>
              <a:t>involvert (76%) eller parts-involvert (80%) </a:t>
            </a:r>
            <a:r>
              <a:rPr lang="nb-NO" sz="1200" dirty="0">
                <a:solidFill>
                  <a:schemeClr val="tx1">
                    <a:lumMod val="90000"/>
                    <a:lumOff val="10000"/>
                  </a:schemeClr>
                </a:solidFill>
              </a:rPr>
              <a:t>i en foreldretvist/barnefordelingssak eller barnevernssak i rettssystemet enn de som ikke har vært involvert (63%), mener den nye loven bør ha delt bosted som hovedregel. </a:t>
            </a:r>
          </a:p>
        </p:txBody>
      </p:sp>
      <p:sp>
        <p:nvSpPr>
          <p:cNvPr id="7" name="Obdélník 4">
            <a:extLst>
              <a:ext uri="{FF2B5EF4-FFF2-40B4-BE49-F238E27FC236}">
                <a16:creationId xmlns:a16="http://schemas.microsoft.com/office/drawing/2014/main" id="{383190BB-B188-D046-BE25-4A5793D9B2C4}"/>
              </a:ext>
            </a:extLst>
          </p:cNvPr>
          <p:cNvSpPr/>
          <p:nvPr/>
        </p:nvSpPr>
        <p:spPr>
          <a:xfrm>
            <a:off x="7541066" y="4224566"/>
            <a:ext cx="3184084" cy="1368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388" tIns="71388" rIns="71388" bIns="71388" numCol="1" spcCol="38098" rtlCol="0" anchor="ctr">
            <a:noAutofit/>
          </a:bodyPr>
          <a:lstStyle/>
          <a:p>
            <a:pPr algn="ctr" defTabSz="820985" hangingPunct="0"/>
            <a:endParaRPr lang="nb-NO" sz="3198" dirty="0">
              <a:solidFill>
                <a:schemeClr val="bg2"/>
              </a:solidFill>
              <a:sym typeface="Helvetica Light"/>
            </a:endParaRPr>
          </a:p>
        </p:txBody>
      </p:sp>
      <p:sp>
        <p:nvSpPr>
          <p:cNvPr id="4" name="TextBox 3">
            <a:extLst>
              <a:ext uri="{FF2B5EF4-FFF2-40B4-BE49-F238E27FC236}">
                <a16:creationId xmlns:a16="http://schemas.microsoft.com/office/drawing/2014/main" id="{5C23DD8D-2B42-9C32-1661-2C11F8C107D6}"/>
              </a:ext>
            </a:extLst>
          </p:cNvPr>
          <p:cNvSpPr txBox="1"/>
          <p:nvPr/>
        </p:nvSpPr>
        <p:spPr>
          <a:xfrm>
            <a:off x="929620" y="1444237"/>
            <a:ext cx="10005080" cy="430887"/>
          </a:xfrm>
          <a:prstGeom prst="rect">
            <a:avLst/>
          </a:prstGeom>
        </p:spPr>
        <p:txBody>
          <a:bodyPr vert="horz" wrap="square" lIns="0" tIns="0" rIns="0" bIns="0" rtlCol="0">
            <a:spAutoFit/>
          </a:bodyPr>
          <a:lstStyle/>
          <a:p>
            <a:pPr algn="ctr"/>
            <a:r>
              <a:rPr lang="nb-NO" sz="1400" b="1" dirty="0">
                <a:solidFill>
                  <a:schemeClr val="tx1">
                    <a:lumMod val="90000"/>
                    <a:lumOff val="10000"/>
                  </a:schemeClr>
                </a:solidFill>
                <a:latin typeface="+mj-lt"/>
              </a:rPr>
              <a:t>MENER DU AT DEN NYE LOVEN OM BARN OG FORELDRE BØR HA </a:t>
            </a:r>
            <a:br>
              <a:rPr lang="nb-NO" sz="1400" b="1" dirty="0">
                <a:solidFill>
                  <a:schemeClr val="tx1">
                    <a:lumMod val="90000"/>
                    <a:lumOff val="10000"/>
                  </a:schemeClr>
                </a:solidFill>
                <a:latin typeface="+mj-lt"/>
              </a:rPr>
            </a:br>
            <a:r>
              <a:rPr lang="nb-NO" sz="1400" b="1" dirty="0">
                <a:solidFill>
                  <a:schemeClr val="tx1">
                    <a:lumMod val="90000"/>
                    <a:lumOff val="10000"/>
                  </a:schemeClr>
                </a:solidFill>
                <a:latin typeface="+mj-lt"/>
              </a:rPr>
              <a:t>«DELT BOSTED» I BETYDNINGEN «JURIDISK LIKEVERD MELLOM FORELDRENE» SOM HOVEDREGEL? </a:t>
            </a:r>
          </a:p>
        </p:txBody>
      </p:sp>
      <p:graphicFrame>
        <p:nvGraphicFramePr>
          <p:cNvPr id="11" name="Chart 10">
            <a:extLst>
              <a:ext uri="{FF2B5EF4-FFF2-40B4-BE49-F238E27FC236}">
                <a16:creationId xmlns:a16="http://schemas.microsoft.com/office/drawing/2014/main" id="{ABF88BE7-D1B9-ED67-988D-2BE0B2FAC779}"/>
              </a:ext>
            </a:extLst>
          </p:cNvPr>
          <p:cNvGraphicFramePr/>
          <p:nvPr>
            <p:extLst>
              <p:ext uri="{D42A27DB-BD31-4B8C-83A1-F6EECF244321}">
                <p14:modId xmlns:p14="http://schemas.microsoft.com/office/powerpoint/2010/main" val="471235977"/>
              </p:ext>
            </p:extLst>
          </p:nvPr>
        </p:nvGraphicFramePr>
        <p:xfrm>
          <a:off x="1626939" y="2213814"/>
          <a:ext cx="5073650" cy="3382434"/>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7411AA3B-458F-2342-AE14-278F4B28A03D}"/>
              </a:ext>
            </a:extLst>
          </p:cNvPr>
          <p:cNvSpPr txBox="1"/>
          <p:nvPr/>
        </p:nvSpPr>
        <p:spPr>
          <a:xfrm>
            <a:off x="5565761" y="4362771"/>
            <a:ext cx="800100" cy="338554"/>
          </a:xfrm>
          <a:prstGeom prst="rect">
            <a:avLst/>
          </a:prstGeom>
          <a:noFill/>
        </p:spPr>
        <p:txBody>
          <a:bodyPr wrap="square">
            <a:spAutoFit/>
          </a:bodyPr>
          <a:lstStyle/>
          <a:p>
            <a:r>
              <a:rPr lang="nb-NO" sz="1600" dirty="0">
                <a:solidFill>
                  <a:schemeClr val="tx2"/>
                </a:solidFill>
                <a:latin typeface="+mj-lt"/>
              </a:rPr>
              <a:t>Ja</a:t>
            </a:r>
            <a:endParaRPr lang="en-US" sz="1600" dirty="0">
              <a:solidFill>
                <a:schemeClr val="tx2"/>
              </a:solidFill>
            </a:endParaRPr>
          </a:p>
        </p:txBody>
      </p:sp>
      <p:sp>
        <p:nvSpPr>
          <p:cNvPr id="15" name="TextBox 14">
            <a:extLst>
              <a:ext uri="{FF2B5EF4-FFF2-40B4-BE49-F238E27FC236}">
                <a16:creationId xmlns:a16="http://schemas.microsoft.com/office/drawing/2014/main" id="{0DA3A2D8-C750-4457-ED8B-113565BF1EF9}"/>
              </a:ext>
            </a:extLst>
          </p:cNvPr>
          <p:cNvSpPr txBox="1"/>
          <p:nvPr/>
        </p:nvSpPr>
        <p:spPr>
          <a:xfrm>
            <a:off x="2127237" y="4277046"/>
            <a:ext cx="800100" cy="338554"/>
          </a:xfrm>
          <a:prstGeom prst="rect">
            <a:avLst/>
          </a:prstGeom>
          <a:noFill/>
        </p:spPr>
        <p:txBody>
          <a:bodyPr wrap="square">
            <a:spAutoFit/>
          </a:bodyPr>
          <a:lstStyle/>
          <a:p>
            <a:r>
              <a:rPr lang="nb-NO" sz="1600" dirty="0">
                <a:solidFill>
                  <a:schemeClr val="bg2"/>
                </a:solidFill>
                <a:latin typeface="+mj-lt"/>
              </a:rPr>
              <a:t>Nei</a:t>
            </a:r>
            <a:endParaRPr lang="en-US" sz="1600" dirty="0">
              <a:solidFill>
                <a:schemeClr val="bg2"/>
              </a:solidFill>
            </a:endParaRPr>
          </a:p>
        </p:txBody>
      </p:sp>
      <p:sp>
        <p:nvSpPr>
          <p:cNvPr id="16" name="TextBox 15">
            <a:extLst>
              <a:ext uri="{FF2B5EF4-FFF2-40B4-BE49-F238E27FC236}">
                <a16:creationId xmlns:a16="http://schemas.microsoft.com/office/drawing/2014/main" id="{1DADE72E-E302-9D21-262E-C0AEF22CB0CF}"/>
              </a:ext>
            </a:extLst>
          </p:cNvPr>
          <p:cNvSpPr txBox="1"/>
          <p:nvPr/>
        </p:nvSpPr>
        <p:spPr>
          <a:xfrm>
            <a:off x="1050911" y="2713457"/>
            <a:ext cx="1876426" cy="523220"/>
          </a:xfrm>
          <a:prstGeom prst="rect">
            <a:avLst/>
          </a:prstGeom>
          <a:noFill/>
        </p:spPr>
        <p:txBody>
          <a:bodyPr wrap="square">
            <a:spAutoFit/>
          </a:bodyPr>
          <a:lstStyle/>
          <a:p>
            <a:pPr algn="r"/>
            <a:r>
              <a:rPr lang="nb-NO" sz="1400" dirty="0">
                <a:solidFill>
                  <a:schemeClr val="bg1">
                    <a:lumMod val="75000"/>
                  </a:schemeClr>
                </a:solidFill>
                <a:latin typeface="+mj-lt"/>
              </a:rPr>
              <a:t>Vet ikke/</a:t>
            </a:r>
            <a:br>
              <a:rPr lang="nb-NO" sz="1400" dirty="0">
                <a:solidFill>
                  <a:schemeClr val="bg1">
                    <a:lumMod val="75000"/>
                  </a:schemeClr>
                </a:solidFill>
                <a:latin typeface="+mj-lt"/>
              </a:rPr>
            </a:br>
            <a:r>
              <a:rPr lang="nb-NO" sz="1400" dirty="0">
                <a:solidFill>
                  <a:schemeClr val="bg1">
                    <a:lumMod val="75000"/>
                  </a:schemeClr>
                </a:solidFill>
                <a:latin typeface="+mj-lt"/>
              </a:rPr>
              <a:t>Kan ikke svare</a:t>
            </a:r>
            <a:endParaRPr lang="en-US" sz="1400" dirty="0">
              <a:solidFill>
                <a:schemeClr val="bg1">
                  <a:lumMod val="75000"/>
                </a:schemeClr>
              </a:solidFill>
            </a:endParaRPr>
          </a:p>
        </p:txBody>
      </p:sp>
      <p:pic>
        <p:nvPicPr>
          <p:cNvPr id="17" name="Picture 8" descr="No photo description available.">
            <a:extLst>
              <a:ext uri="{FF2B5EF4-FFF2-40B4-BE49-F238E27FC236}">
                <a16:creationId xmlns:a16="http://schemas.microsoft.com/office/drawing/2014/main" id="{855BB962-5F01-5DAA-36F0-F45D838FB2F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428836" y="218894"/>
            <a:ext cx="472420" cy="472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8778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FA13D4E-6F01-3FD4-BC62-B61A08B548ED}"/>
              </a:ext>
            </a:extLst>
          </p:cNvPr>
          <p:cNvPicPr>
            <a:picLocks noChangeAspect="1"/>
          </p:cNvPicPr>
          <p:nvPr/>
        </p:nvPicPr>
        <p:blipFill>
          <a:blip r:embed="rId2"/>
          <a:stretch>
            <a:fillRect/>
          </a:stretch>
        </p:blipFill>
        <p:spPr>
          <a:xfrm>
            <a:off x="9986460" y="5728475"/>
            <a:ext cx="1943371" cy="438211"/>
          </a:xfrm>
          <a:prstGeom prst="rect">
            <a:avLst/>
          </a:prstGeom>
        </p:spPr>
      </p:pic>
      <p:sp>
        <p:nvSpPr>
          <p:cNvPr id="2" name="Plassholder for lysbildenummer 1">
            <a:extLst>
              <a:ext uri="{FF2B5EF4-FFF2-40B4-BE49-F238E27FC236}">
                <a16:creationId xmlns:a16="http://schemas.microsoft.com/office/drawing/2014/main" id="{4704F41F-6C16-4EED-9C68-25CA0E2FE2BB}"/>
              </a:ext>
            </a:extLst>
          </p:cNvPr>
          <p:cNvSpPr>
            <a:spLocks noGrp="1"/>
          </p:cNvSpPr>
          <p:nvPr>
            <p:ph type="sldNum" sz="quarter" idx="18"/>
          </p:nvPr>
        </p:nvSpPr>
        <p:spPr/>
        <p:txBody>
          <a:bodyPr/>
          <a:lstStyle/>
          <a:p>
            <a:fld id="{D61AABEC-672F-4B68-B914-690DA978312C}" type="slidenum">
              <a:rPr lang="nb-NO" smtClean="0"/>
              <a:pPr/>
              <a:t>5</a:t>
            </a:fld>
            <a:r>
              <a:rPr lang="nb-NO" dirty="0"/>
              <a:t> </a:t>
            </a:r>
          </a:p>
        </p:txBody>
      </p:sp>
      <p:sp>
        <p:nvSpPr>
          <p:cNvPr id="5" name="Plassholder for tekst 4">
            <a:extLst>
              <a:ext uri="{FF2B5EF4-FFF2-40B4-BE49-F238E27FC236}">
                <a16:creationId xmlns:a16="http://schemas.microsoft.com/office/drawing/2014/main" id="{A999A219-7114-4451-ACCA-FC2BE3484064}"/>
              </a:ext>
            </a:extLst>
          </p:cNvPr>
          <p:cNvSpPr>
            <a:spLocks noGrp="1"/>
          </p:cNvSpPr>
          <p:nvPr>
            <p:ph type="body" sz="quarter" idx="19"/>
          </p:nvPr>
        </p:nvSpPr>
        <p:spPr>
          <a:xfrm>
            <a:off x="407988" y="816457"/>
            <a:ext cx="10130703" cy="349702"/>
          </a:xfrm>
        </p:spPr>
        <p:txBody>
          <a:bodyPr/>
          <a:lstStyle/>
          <a:p>
            <a:r>
              <a:rPr lang="nb-NO" sz="2000" b="1" dirty="0"/>
              <a:t>Over 1 av 3 svarer at de ikke vet hvordan loven om barn og foreldre regulerer forholdet mellom foreldre som bryter samlivet. Like stor andel svarer at dagens lov gir den ene forelderen avgjørelsesmyndigheten om viktige spørsmål om barnas omsorg når foreldrene ikke selv blir enige om ha delt bosted.</a:t>
            </a:r>
          </a:p>
        </p:txBody>
      </p:sp>
      <p:sp>
        <p:nvSpPr>
          <p:cNvPr id="14" name="Text Box 5">
            <a:extLst>
              <a:ext uri="{FF2B5EF4-FFF2-40B4-BE49-F238E27FC236}">
                <a16:creationId xmlns:a16="http://schemas.microsoft.com/office/drawing/2014/main" id="{868F37A9-8055-4848-9859-98082BA04E6B}"/>
              </a:ext>
            </a:extLst>
          </p:cNvPr>
          <p:cNvSpPr txBox="1">
            <a:spLocks noChangeArrowheads="1"/>
          </p:cNvSpPr>
          <p:nvPr/>
        </p:nvSpPr>
        <p:spPr bwMode="auto">
          <a:xfrm>
            <a:off x="929620" y="6471384"/>
            <a:ext cx="10130702" cy="12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lnSpc>
                <a:spcPct val="90000"/>
              </a:lnSpc>
              <a:spcBef>
                <a:spcPct val="0"/>
              </a:spcBef>
              <a:spcAft>
                <a:spcPct val="0"/>
              </a:spcAft>
            </a:pPr>
            <a:r>
              <a:rPr lang="nb-NO" sz="900" dirty="0">
                <a:solidFill>
                  <a:schemeClr val="bg1">
                    <a:lumMod val="50000"/>
                  </a:schemeClr>
                </a:solidFill>
              </a:rPr>
              <a:t>Q:f2f2. Hvordan tror du Loven om barn og foreldre i Norge nå regulerer forholdet mellom foreldre som bryter samlivet? // Base: Total N=1087</a:t>
            </a:r>
            <a:endParaRPr lang="nb-NO" sz="1100" dirty="0">
              <a:solidFill>
                <a:schemeClr val="bg1">
                  <a:lumMod val="50000"/>
                </a:schemeClr>
              </a:solidFill>
              <a:cs typeface="Arial" pitchFamily="34" charset="0"/>
            </a:endParaRPr>
          </a:p>
        </p:txBody>
      </p:sp>
      <p:graphicFrame>
        <p:nvGraphicFramePr>
          <p:cNvPr id="10" name="Chart 9">
            <a:extLst>
              <a:ext uri="{FF2B5EF4-FFF2-40B4-BE49-F238E27FC236}">
                <a16:creationId xmlns:a16="http://schemas.microsoft.com/office/drawing/2014/main" id="{BA614703-DDFB-15FB-DFE8-ED34ECA10AEF}"/>
              </a:ext>
            </a:extLst>
          </p:cNvPr>
          <p:cNvGraphicFramePr/>
          <p:nvPr/>
        </p:nvGraphicFramePr>
        <p:xfrm>
          <a:off x="5109442" y="1933575"/>
          <a:ext cx="5495924" cy="42333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6">
            <a:extLst>
              <a:ext uri="{FF2B5EF4-FFF2-40B4-BE49-F238E27FC236}">
                <a16:creationId xmlns:a16="http://schemas.microsoft.com/office/drawing/2014/main" id="{B9B0CD25-34CB-AC2B-1D8A-228060C0925A}"/>
              </a:ext>
            </a:extLst>
          </p:cNvPr>
          <p:cNvGraphicFramePr>
            <a:graphicFrameLocks noGrp="1"/>
          </p:cNvGraphicFramePr>
          <p:nvPr>
            <p:extLst>
              <p:ext uri="{D42A27DB-BD31-4B8C-83A1-F6EECF244321}">
                <p14:modId xmlns:p14="http://schemas.microsoft.com/office/powerpoint/2010/main" val="1783951117"/>
              </p:ext>
            </p:extLst>
          </p:nvPr>
        </p:nvGraphicFramePr>
        <p:xfrm>
          <a:off x="929620" y="2052107"/>
          <a:ext cx="4113147" cy="3986674"/>
        </p:xfrm>
        <a:graphic>
          <a:graphicData uri="http://schemas.openxmlformats.org/drawingml/2006/table">
            <a:tbl>
              <a:tblPr firstRow="1" bandRow="1">
                <a:tableStyleId>{5C22544A-7EE6-4342-B048-85BDC9FD1C3A}</a:tableStyleId>
              </a:tblPr>
              <a:tblGrid>
                <a:gridCol w="4113147">
                  <a:extLst>
                    <a:ext uri="{9D8B030D-6E8A-4147-A177-3AD203B41FA5}">
                      <a16:colId xmlns:a16="http://schemas.microsoft.com/office/drawing/2014/main" val="4236656356"/>
                    </a:ext>
                  </a:extLst>
                </a:gridCol>
              </a:tblGrid>
              <a:tr h="1003759">
                <a:tc>
                  <a:txBody>
                    <a:bodyPr/>
                    <a:lstStyle/>
                    <a:p>
                      <a:pPr algn="r" fontAlgn="ctr"/>
                      <a:r>
                        <a:rPr lang="nb-NO" sz="1100" b="0" i="0" u="none" strike="noStrike" dirty="0">
                          <a:solidFill>
                            <a:schemeClr val="tx1">
                              <a:lumMod val="90000"/>
                              <a:lumOff val="10000"/>
                            </a:schemeClr>
                          </a:solidFill>
                          <a:effectLst/>
                          <a:latin typeface="Calibri" panose="020F0502020204030204" pitchFamily="34" charset="0"/>
                        </a:rPr>
                        <a:t>Dagens Lov om barn og foreldre gir den ene av foreldrene rett til å ta de viktige avgjørelsene om barnas omsorg alene, når foreldrene ikke selv blir enige om å ha delt bosted i betydningen juridisk likeverd. (Med viktige avgjørelser menes spørsmål om hvor i landet barnet skal bo, om skole, barnehage og organiserte fritidsaktiviteter).</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267533"/>
                  </a:ext>
                </a:extLst>
              </a:tr>
              <a:tr h="994305">
                <a:tc>
                  <a:txBody>
                    <a:bodyPr/>
                    <a:lstStyle/>
                    <a:p>
                      <a:pPr algn="r" fontAlgn="ctr"/>
                      <a:r>
                        <a:rPr lang="nb-NO" sz="1100" b="0" i="0" u="none" strike="noStrike" dirty="0">
                          <a:solidFill>
                            <a:schemeClr val="tx1">
                              <a:lumMod val="90000"/>
                              <a:lumOff val="10000"/>
                            </a:schemeClr>
                          </a:solidFill>
                          <a:effectLst/>
                          <a:latin typeface="Calibri" panose="020F0502020204030204" pitchFamily="34" charset="0"/>
                        </a:rPr>
                        <a:t>Dagens Lov om barn og foreldre likestiller foreldrene juridisk mht. barnas omsorg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7217847"/>
                  </a:ext>
                </a:extLst>
              </a:tr>
              <a:tr h="994305">
                <a:tc>
                  <a:txBody>
                    <a:bodyPr/>
                    <a:lstStyle/>
                    <a:p>
                      <a:pPr algn="r" fontAlgn="ctr"/>
                      <a:r>
                        <a:rPr lang="nb-NO" sz="1100" b="0" i="0" u="none" strike="noStrike">
                          <a:solidFill>
                            <a:schemeClr val="tx1">
                              <a:lumMod val="90000"/>
                              <a:lumOff val="10000"/>
                            </a:schemeClr>
                          </a:solidFill>
                          <a:effectLst/>
                          <a:latin typeface="Calibri" panose="020F0502020204030204" pitchFamily="34" charset="0"/>
                        </a:rPr>
                        <a:t>Lov om barn og foreldre gir full avtalefrihet mellom foreldren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811417"/>
                  </a:ext>
                </a:extLst>
              </a:tr>
              <a:tr h="994305">
                <a:tc>
                  <a:txBody>
                    <a:bodyPr/>
                    <a:lstStyle/>
                    <a:p>
                      <a:pPr algn="r" fontAlgn="ctr"/>
                      <a:r>
                        <a:rPr lang="nb-NO" sz="1100" b="0" i="0" u="none" strike="noStrike" dirty="0">
                          <a:solidFill>
                            <a:schemeClr val="tx1">
                              <a:lumMod val="90000"/>
                              <a:lumOff val="10000"/>
                            </a:schemeClr>
                          </a:solidFill>
                          <a:effectLst/>
                          <a:latin typeface="Calibri" panose="020F0502020204030204" pitchFamily="34" charset="0"/>
                        </a:rPr>
                        <a:t>Vet ikke/Kan ikke svar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8915387"/>
                  </a:ext>
                </a:extLst>
              </a:tr>
            </a:tbl>
          </a:graphicData>
        </a:graphic>
      </p:graphicFrame>
      <p:sp>
        <p:nvSpPr>
          <p:cNvPr id="17" name="TextBox 16">
            <a:extLst>
              <a:ext uri="{FF2B5EF4-FFF2-40B4-BE49-F238E27FC236}">
                <a16:creationId xmlns:a16="http://schemas.microsoft.com/office/drawing/2014/main" id="{0C93B72C-BC2A-5766-D266-7DB565A7FA41}"/>
              </a:ext>
            </a:extLst>
          </p:cNvPr>
          <p:cNvSpPr txBox="1"/>
          <p:nvPr/>
        </p:nvSpPr>
        <p:spPr>
          <a:xfrm>
            <a:off x="2438799" y="1299356"/>
            <a:ext cx="7476725" cy="430887"/>
          </a:xfrm>
          <a:prstGeom prst="rect">
            <a:avLst/>
          </a:prstGeom>
        </p:spPr>
        <p:txBody>
          <a:bodyPr vert="horz" wrap="square" lIns="0" tIns="0" rIns="0" bIns="0" rtlCol="0">
            <a:spAutoFit/>
          </a:bodyPr>
          <a:lstStyle/>
          <a:p>
            <a:pPr algn="ctr"/>
            <a:r>
              <a:rPr lang="nb-NO" sz="1400" b="1" dirty="0">
                <a:solidFill>
                  <a:schemeClr val="tx1">
                    <a:lumMod val="90000"/>
                    <a:lumOff val="10000"/>
                  </a:schemeClr>
                </a:solidFill>
                <a:latin typeface="+mj-lt"/>
              </a:rPr>
              <a:t>HVORDAN TROR DU LOVEN OM BARN OG FORELDRE I NORGE NÅ REGULERER FORHOLDET MELLOM FORELDRE SOM BRYTER SAMLIVET?</a:t>
            </a:r>
          </a:p>
        </p:txBody>
      </p:sp>
      <p:pic>
        <p:nvPicPr>
          <p:cNvPr id="18" name="Picture 8" descr="No photo description available.">
            <a:extLst>
              <a:ext uri="{FF2B5EF4-FFF2-40B4-BE49-F238E27FC236}">
                <a16:creationId xmlns:a16="http://schemas.microsoft.com/office/drawing/2014/main" id="{D61475E6-2E01-D41D-184B-C98DA2594AC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428836" y="218894"/>
            <a:ext cx="472420" cy="47242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5978A0A7-1A6D-BE07-29C8-F4E87501A9D2}"/>
              </a:ext>
            </a:extLst>
          </p:cNvPr>
          <p:cNvSpPr txBox="1"/>
          <p:nvPr/>
        </p:nvSpPr>
        <p:spPr>
          <a:xfrm>
            <a:off x="3657641" y="1730243"/>
            <a:ext cx="5039040" cy="261610"/>
          </a:xfrm>
          <a:prstGeom prst="rect">
            <a:avLst/>
          </a:prstGeom>
          <a:noFill/>
        </p:spPr>
        <p:txBody>
          <a:bodyPr wrap="square">
            <a:spAutoFit/>
          </a:bodyPr>
          <a:lstStyle/>
          <a:p>
            <a:pPr algn="ctr"/>
            <a:r>
              <a:rPr lang="nb-NO" sz="1100" b="1" dirty="0">
                <a:solidFill>
                  <a:schemeClr val="tx1">
                    <a:lumMod val="75000"/>
                    <a:lumOff val="25000"/>
                  </a:schemeClr>
                </a:solidFill>
              </a:rPr>
              <a:t>Blant Total</a:t>
            </a:r>
            <a:endParaRPr lang="en-US" sz="1100" b="1" i="1" dirty="0">
              <a:solidFill>
                <a:schemeClr val="tx1">
                  <a:lumMod val="75000"/>
                  <a:lumOff val="25000"/>
                </a:schemeClr>
              </a:solidFill>
            </a:endParaRPr>
          </a:p>
        </p:txBody>
      </p:sp>
    </p:spTree>
    <p:extLst>
      <p:ext uri="{BB962C8B-B14F-4D97-AF65-F5344CB8AC3E}">
        <p14:creationId xmlns:p14="http://schemas.microsoft.com/office/powerpoint/2010/main" val="34540520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54A4F370-B1AA-20E6-3AF2-4CE831FEC11D}"/>
              </a:ext>
            </a:extLst>
          </p:cNvPr>
          <p:cNvGraphicFramePr/>
          <p:nvPr>
            <p:extLst>
              <p:ext uri="{D42A27DB-BD31-4B8C-83A1-F6EECF244321}">
                <p14:modId xmlns:p14="http://schemas.microsoft.com/office/powerpoint/2010/main" val="1049976627"/>
              </p:ext>
            </p:extLst>
          </p:nvPr>
        </p:nvGraphicFramePr>
        <p:xfrm>
          <a:off x="929620" y="1929467"/>
          <a:ext cx="10548005" cy="4326311"/>
        </p:xfrm>
        <a:graphic>
          <a:graphicData uri="http://schemas.openxmlformats.org/drawingml/2006/chart">
            <c:chart xmlns:c="http://schemas.openxmlformats.org/drawingml/2006/chart" xmlns:r="http://schemas.openxmlformats.org/officeDocument/2006/relationships" r:id="rId2"/>
          </a:graphicData>
        </a:graphic>
      </p:graphicFrame>
      <p:sp>
        <p:nvSpPr>
          <p:cNvPr id="2" name="Plassholder for lysbildenummer 1">
            <a:extLst>
              <a:ext uri="{FF2B5EF4-FFF2-40B4-BE49-F238E27FC236}">
                <a16:creationId xmlns:a16="http://schemas.microsoft.com/office/drawing/2014/main" id="{4704F41F-6C16-4EED-9C68-25CA0E2FE2BB}"/>
              </a:ext>
            </a:extLst>
          </p:cNvPr>
          <p:cNvSpPr>
            <a:spLocks noGrp="1"/>
          </p:cNvSpPr>
          <p:nvPr>
            <p:ph type="sldNum" sz="quarter" idx="18"/>
          </p:nvPr>
        </p:nvSpPr>
        <p:spPr/>
        <p:txBody>
          <a:bodyPr/>
          <a:lstStyle/>
          <a:p>
            <a:fld id="{D61AABEC-672F-4B68-B914-690DA978312C}" type="slidenum">
              <a:rPr lang="nb-NO" smtClean="0"/>
              <a:pPr/>
              <a:t>6</a:t>
            </a:fld>
            <a:r>
              <a:rPr lang="nb-NO" dirty="0"/>
              <a:t> </a:t>
            </a:r>
          </a:p>
        </p:txBody>
      </p:sp>
      <p:sp>
        <p:nvSpPr>
          <p:cNvPr id="5" name="Plassholder for tekst 4">
            <a:extLst>
              <a:ext uri="{FF2B5EF4-FFF2-40B4-BE49-F238E27FC236}">
                <a16:creationId xmlns:a16="http://schemas.microsoft.com/office/drawing/2014/main" id="{A999A219-7114-4451-ACCA-FC2BE3484064}"/>
              </a:ext>
            </a:extLst>
          </p:cNvPr>
          <p:cNvSpPr>
            <a:spLocks noGrp="1"/>
          </p:cNvSpPr>
          <p:nvPr>
            <p:ph type="body" sz="quarter" idx="19"/>
          </p:nvPr>
        </p:nvSpPr>
        <p:spPr>
          <a:xfrm>
            <a:off x="407988" y="818467"/>
            <a:ext cx="10130703" cy="349702"/>
          </a:xfrm>
        </p:spPr>
        <p:txBody>
          <a:bodyPr/>
          <a:lstStyle/>
          <a:p>
            <a:r>
              <a:rPr lang="nb-NO" b="1" dirty="0"/>
              <a:t>2 av 3 foreldre som har vært involvert i en foreldretvist eller barnevernssak tror dagens lov gir en av foreldrene avgjørelsesmyndigheten i viktige spørsmål om barnas omsorg når foreldrene ikke blir enige. </a:t>
            </a:r>
          </a:p>
        </p:txBody>
      </p:sp>
      <p:sp>
        <p:nvSpPr>
          <p:cNvPr id="14" name="Text Box 5">
            <a:extLst>
              <a:ext uri="{FF2B5EF4-FFF2-40B4-BE49-F238E27FC236}">
                <a16:creationId xmlns:a16="http://schemas.microsoft.com/office/drawing/2014/main" id="{868F37A9-8055-4848-9859-98082BA04E6B}"/>
              </a:ext>
            </a:extLst>
          </p:cNvPr>
          <p:cNvSpPr txBox="1">
            <a:spLocks noChangeArrowheads="1"/>
          </p:cNvSpPr>
          <p:nvPr/>
        </p:nvSpPr>
        <p:spPr bwMode="auto">
          <a:xfrm>
            <a:off x="929620" y="6346735"/>
            <a:ext cx="10130702" cy="249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lnSpc>
                <a:spcPct val="90000"/>
              </a:lnSpc>
              <a:spcBef>
                <a:spcPct val="0"/>
              </a:spcBef>
              <a:spcAft>
                <a:spcPct val="0"/>
              </a:spcAft>
            </a:pPr>
            <a:r>
              <a:rPr lang="nb-NO" sz="900" dirty="0">
                <a:solidFill>
                  <a:schemeClr val="bg1">
                    <a:lumMod val="50000"/>
                  </a:schemeClr>
                </a:solidFill>
              </a:rPr>
              <a:t>Q:f2f2. Hvordan tror du Loven om barn og foreldre i Norge nå regulerer forholdet mellom foreldre som bryter samlivet? </a:t>
            </a:r>
            <a:br>
              <a:rPr lang="nb-NO" sz="900" dirty="0">
                <a:solidFill>
                  <a:schemeClr val="bg1">
                    <a:lumMod val="50000"/>
                  </a:schemeClr>
                </a:solidFill>
              </a:rPr>
            </a:br>
            <a:r>
              <a:rPr lang="nb-NO" sz="900" dirty="0">
                <a:solidFill>
                  <a:schemeClr val="bg1">
                    <a:lumMod val="50000"/>
                  </a:schemeClr>
                </a:solidFill>
              </a:rPr>
              <a:t>// Base: Total N=1087, Ja som part, dvs. som mor eller far til barnet n=87, Ja, i en annen rolle n=138, Nei ikke involvert n=855</a:t>
            </a:r>
            <a:endParaRPr lang="nb-NO" sz="1100" dirty="0">
              <a:solidFill>
                <a:schemeClr val="bg1">
                  <a:lumMod val="50000"/>
                </a:schemeClr>
              </a:solidFill>
              <a:cs typeface="Arial" pitchFamily="34" charset="0"/>
            </a:endParaRPr>
          </a:p>
        </p:txBody>
      </p:sp>
      <p:graphicFrame>
        <p:nvGraphicFramePr>
          <p:cNvPr id="12" name="Table 16">
            <a:extLst>
              <a:ext uri="{FF2B5EF4-FFF2-40B4-BE49-F238E27FC236}">
                <a16:creationId xmlns:a16="http://schemas.microsoft.com/office/drawing/2014/main" id="{B9B0CD25-34CB-AC2B-1D8A-228060C0925A}"/>
              </a:ext>
            </a:extLst>
          </p:cNvPr>
          <p:cNvGraphicFramePr>
            <a:graphicFrameLocks noGrp="1"/>
          </p:cNvGraphicFramePr>
          <p:nvPr>
            <p:extLst>
              <p:ext uri="{D42A27DB-BD31-4B8C-83A1-F6EECF244321}">
                <p14:modId xmlns:p14="http://schemas.microsoft.com/office/powerpoint/2010/main" val="1178983849"/>
              </p:ext>
            </p:extLst>
          </p:nvPr>
        </p:nvGraphicFramePr>
        <p:xfrm>
          <a:off x="1030648" y="4781710"/>
          <a:ext cx="10130704" cy="1207086"/>
        </p:xfrm>
        <a:graphic>
          <a:graphicData uri="http://schemas.openxmlformats.org/drawingml/2006/table">
            <a:tbl>
              <a:tblPr firstRow="1" bandRow="1">
                <a:tableStyleId>{5C22544A-7EE6-4342-B048-85BDC9FD1C3A}</a:tableStyleId>
              </a:tblPr>
              <a:tblGrid>
                <a:gridCol w="2532676">
                  <a:extLst>
                    <a:ext uri="{9D8B030D-6E8A-4147-A177-3AD203B41FA5}">
                      <a16:colId xmlns:a16="http://schemas.microsoft.com/office/drawing/2014/main" val="4236656356"/>
                    </a:ext>
                  </a:extLst>
                </a:gridCol>
                <a:gridCol w="2532676">
                  <a:extLst>
                    <a:ext uri="{9D8B030D-6E8A-4147-A177-3AD203B41FA5}">
                      <a16:colId xmlns:a16="http://schemas.microsoft.com/office/drawing/2014/main" val="3225255179"/>
                    </a:ext>
                  </a:extLst>
                </a:gridCol>
                <a:gridCol w="2532676">
                  <a:extLst>
                    <a:ext uri="{9D8B030D-6E8A-4147-A177-3AD203B41FA5}">
                      <a16:colId xmlns:a16="http://schemas.microsoft.com/office/drawing/2014/main" val="4125782670"/>
                    </a:ext>
                  </a:extLst>
                </a:gridCol>
                <a:gridCol w="2532676">
                  <a:extLst>
                    <a:ext uri="{9D8B030D-6E8A-4147-A177-3AD203B41FA5}">
                      <a16:colId xmlns:a16="http://schemas.microsoft.com/office/drawing/2014/main" val="3117422213"/>
                    </a:ext>
                  </a:extLst>
                </a:gridCol>
              </a:tblGrid>
              <a:tr h="1207086">
                <a:tc>
                  <a:txBody>
                    <a:bodyPr/>
                    <a:lstStyle/>
                    <a:p>
                      <a:pPr algn="ctr" fontAlgn="ctr"/>
                      <a:r>
                        <a:rPr lang="nb-NO" sz="1100" b="0" i="0" u="none" strike="noStrike" dirty="0">
                          <a:solidFill>
                            <a:schemeClr val="tx1">
                              <a:lumMod val="90000"/>
                              <a:lumOff val="10000"/>
                            </a:schemeClr>
                          </a:solidFill>
                          <a:effectLst/>
                          <a:latin typeface="Calibri" panose="020F0502020204030204" pitchFamily="34" charset="0"/>
                        </a:rPr>
                        <a:t>Dagens Lov om barn og foreldre </a:t>
                      </a:r>
                      <a:r>
                        <a:rPr lang="nb-NO" sz="1100" b="1" i="0" u="none" strike="noStrike" dirty="0">
                          <a:solidFill>
                            <a:schemeClr val="tx1">
                              <a:lumMod val="90000"/>
                              <a:lumOff val="10000"/>
                            </a:schemeClr>
                          </a:solidFill>
                          <a:effectLst/>
                          <a:latin typeface="Calibri" panose="020F0502020204030204" pitchFamily="34" charset="0"/>
                        </a:rPr>
                        <a:t>gir den ene av foreldrene rett til å ta de viktige avgjørelsene om barnas omsorg alene</a:t>
                      </a:r>
                      <a:r>
                        <a:rPr lang="nb-NO" sz="1100" b="0" i="0" u="none" strike="noStrike" dirty="0">
                          <a:solidFill>
                            <a:schemeClr val="tx1">
                              <a:lumMod val="90000"/>
                              <a:lumOff val="10000"/>
                            </a:schemeClr>
                          </a:solidFill>
                          <a:effectLst/>
                          <a:latin typeface="Calibri" panose="020F0502020204030204" pitchFamily="34" charset="0"/>
                        </a:rPr>
                        <a:t>, </a:t>
                      </a:r>
                      <a:r>
                        <a:rPr lang="nb-NO" sz="1100" b="1" i="0" u="none" strike="noStrike" dirty="0">
                          <a:solidFill>
                            <a:schemeClr val="tx1">
                              <a:lumMod val="90000"/>
                              <a:lumOff val="10000"/>
                            </a:schemeClr>
                          </a:solidFill>
                          <a:effectLst/>
                          <a:latin typeface="Calibri" panose="020F0502020204030204" pitchFamily="34" charset="0"/>
                        </a:rPr>
                        <a:t>når foreldrene ikke selv blir enige </a:t>
                      </a:r>
                      <a:r>
                        <a:rPr lang="nb-NO" sz="1100" b="0" i="0" u="none" strike="noStrike" dirty="0">
                          <a:solidFill>
                            <a:schemeClr val="tx1">
                              <a:lumMod val="90000"/>
                              <a:lumOff val="10000"/>
                            </a:schemeClr>
                          </a:solidFill>
                          <a:effectLst/>
                          <a:latin typeface="Calibri" panose="020F0502020204030204" pitchFamily="34" charset="0"/>
                        </a:rPr>
                        <a:t>om å ha delt bosted i betydningen juridisk likeverd. </a:t>
                      </a:r>
                    </a:p>
                  </a:txBody>
                  <a:tcPr marL="45720" marR="45720"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nb-NO" sz="1100" b="0" i="0" u="none" strike="noStrike" dirty="0">
                          <a:solidFill>
                            <a:schemeClr val="tx1">
                              <a:lumMod val="90000"/>
                              <a:lumOff val="10000"/>
                            </a:schemeClr>
                          </a:solidFill>
                          <a:effectLst/>
                          <a:latin typeface="Calibri" panose="020F0502020204030204" pitchFamily="34" charset="0"/>
                        </a:rPr>
                        <a:t>Dagens Lov om barn og foreldre </a:t>
                      </a:r>
                      <a:r>
                        <a:rPr lang="nb-NO" sz="1100" b="1" i="0" u="none" strike="noStrike" dirty="0">
                          <a:solidFill>
                            <a:schemeClr val="tx1">
                              <a:lumMod val="90000"/>
                              <a:lumOff val="10000"/>
                            </a:schemeClr>
                          </a:solidFill>
                          <a:effectLst/>
                          <a:latin typeface="Calibri" panose="020F0502020204030204" pitchFamily="34" charset="0"/>
                        </a:rPr>
                        <a:t>likestiller foreldrene </a:t>
                      </a:r>
                      <a:r>
                        <a:rPr lang="nb-NO" sz="1100" b="0" i="0" u="none" strike="noStrike" dirty="0">
                          <a:solidFill>
                            <a:schemeClr val="tx1">
                              <a:lumMod val="90000"/>
                              <a:lumOff val="10000"/>
                            </a:schemeClr>
                          </a:solidFill>
                          <a:effectLst/>
                          <a:latin typeface="Calibri" panose="020F0502020204030204" pitchFamily="34" charset="0"/>
                        </a:rPr>
                        <a:t>juridisk mht. barnas omsorg </a:t>
                      </a:r>
                    </a:p>
                    <a:p>
                      <a:pPr algn="ctr" fontAlgn="ctr"/>
                      <a:endParaRPr lang="nb-NO" sz="1100" b="0" i="0" u="none" strike="noStrike" dirty="0">
                        <a:solidFill>
                          <a:schemeClr val="tx1">
                            <a:lumMod val="90000"/>
                            <a:lumOff val="10000"/>
                          </a:schemeClr>
                        </a:solidFill>
                        <a:effectLst/>
                        <a:latin typeface="Calibri" panose="020F0502020204030204" pitchFamily="34" charset="0"/>
                      </a:endParaRPr>
                    </a:p>
                  </a:txBody>
                  <a:tcPr marL="45720" marR="4572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nb-NO" sz="1100" b="0" i="0" u="none" strike="noStrike" dirty="0">
                          <a:solidFill>
                            <a:schemeClr val="tx1">
                              <a:lumMod val="90000"/>
                              <a:lumOff val="10000"/>
                            </a:schemeClr>
                          </a:solidFill>
                          <a:effectLst/>
                          <a:latin typeface="Calibri" panose="020F0502020204030204" pitchFamily="34" charset="0"/>
                        </a:rPr>
                        <a:t>Lov om barn og foreldre gir </a:t>
                      </a:r>
                      <a:r>
                        <a:rPr lang="nb-NO" sz="1100" b="1" i="0" u="none" strike="noStrike" dirty="0">
                          <a:solidFill>
                            <a:schemeClr val="tx1">
                              <a:lumMod val="90000"/>
                              <a:lumOff val="10000"/>
                            </a:schemeClr>
                          </a:solidFill>
                          <a:effectLst/>
                          <a:latin typeface="Calibri" panose="020F0502020204030204" pitchFamily="34" charset="0"/>
                        </a:rPr>
                        <a:t>full avtalefrihet </a:t>
                      </a:r>
                      <a:r>
                        <a:rPr lang="nb-NO" sz="1100" b="0" i="0" u="none" strike="noStrike" dirty="0">
                          <a:solidFill>
                            <a:schemeClr val="tx1">
                              <a:lumMod val="90000"/>
                              <a:lumOff val="10000"/>
                            </a:schemeClr>
                          </a:solidFill>
                          <a:effectLst/>
                          <a:latin typeface="Calibri" panose="020F0502020204030204" pitchFamily="34" charset="0"/>
                        </a:rPr>
                        <a:t>mellom foreldrene</a:t>
                      </a:r>
                    </a:p>
                    <a:p>
                      <a:pPr algn="ctr" fontAlgn="ctr"/>
                      <a:endParaRPr lang="nb-NO" sz="1100" b="0" i="0" u="none" strike="noStrike" dirty="0">
                        <a:solidFill>
                          <a:schemeClr val="tx1">
                            <a:lumMod val="90000"/>
                            <a:lumOff val="10000"/>
                          </a:schemeClr>
                        </a:solidFill>
                        <a:effectLst/>
                        <a:latin typeface="Calibri" panose="020F0502020204030204" pitchFamily="34" charset="0"/>
                      </a:endParaRPr>
                    </a:p>
                  </a:txBody>
                  <a:tcPr marL="45720" marR="4572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nb-NO" sz="1100" b="0" i="0" u="none" strike="noStrike" dirty="0">
                          <a:solidFill>
                            <a:schemeClr val="tx1">
                              <a:lumMod val="90000"/>
                              <a:lumOff val="10000"/>
                            </a:schemeClr>
                          </a:solidFill>
                          <a:effectLst/>
                          <a:latin typeface="Calibri" panose="020F0502020204030204" pitchFamily="34" charset="0"/>
                        </a:rPr>
                        <a:t>Vet ikke/Kan ikke svare</a:t>
                      </a:r>
                    </a:p>
                    <a:p>
                      <a:pPr algn="ctr" fontAlgn="ctr"/>
                      <a:endParaRPr lang="nb-NO" sz="1100" b="0" i="0" u="none" strike="noStrike" dirty="0">
                        <a:solidFill>
                          <a:schemeClr val="tx1">
                            <a:lumMod val="90000"/>
                            <a:lumOff val="10000"/>
                          </a:schemeClr>
                        </a:solidFill>
                        <a:effectLst/>
                        <a:latin typeface="Calibri" panose="020F0502020204030204" pitchFamily="34" charset="0"/>
                      </a:endParaRPr>
                    </a:p>
                  </a:txBody>
                  <a:tcPr marL="45720" marR="45720"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267533"/>
                  </a:ext>
                </a:extLst>
              </a:tr>
            </a:tbl>
          </a:graphicData>
        </a:graphic>
      </p:graphicFrame>
      <p:sp>
        <p:nvSpPr>
          <p:cNvPr id="17" name="TextBox 16">
            <a:extLst>
              <a:ext uri="{FF2B5EF4-FFF2-40B4-BE49-F238E27FC236}">
                <a16:creationId xmlns:a16="http://schemas.microsoft.com/office/drawing/2014/main" id="{0C93B72C-BC2A-5766-D266-7DB565A7FA41}"/>
              </a:ext>
            </a:extLst>
          </p:cNvPr>
          <p:cNvSpPr txBox="1"/>
          <p:nvPr/>
        </p:nvSpPr>
        <p:spPr>
          <a:xfrm>
            <a:off x="2438799" y="1390499"/>
            <a:ext cx="7476725" cy="430887"/>
          </a:xfrm>
          <a:prstGeom prst="rect">
            <a:avLst/>
          </a:prstGeom>
        </p:spPr>
        <p:txBody>
          <a:bodyPr vert="horz" wrap="square" lIns="0" tIns="0" rIns="0" bIns="0" rtlCol="0">
            <a:spAutoFit/>
          </a:bodyPr>
          <a:lstStyle/>
          <a:p>
            <a:pPr algn="ctr"/>
            <a:r>
              <a:rPr lang="nb-NO" sz="1400" b="1" dirty="0">
                <a:solidFill>
                  <a:schemeClr val="tx1">
                    <a:lumMod val="90000"/>
                    <a:lumOff val="10000"/>
                  </a:schemeClr>
                </a:solidFill>
                <a:latin typeface="+mj-lt"/>
              </a:rPr>
              <a:t>HVORDAN TROR DU LOVEN OM BARN OG FORELDRE I NORGE NÅ REGULERER FORHOLDET MELLOM FORELDRE SOM BRYTER SAMLIVET?</a:t>
            </a:r>
          </a:p>
        </p:txBody>
      </p:sp>
      <p:pic>
        <p:nvPicPr>
          <p:cNvPr id="7" name="Picture 8" descr="No photo description available.">
            <a:extLst>
              <a:ext uri="{FF2B5EF4-FFF2-40B4-BE49-F238E27FC236}">
                <a16:creationId xmlns:a16="http://schemas.microsoft.com/office/drawing/2014/main" id="{B4A7D15C-AB6A-3D32-AD0A-BAB68779BF2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28836" y="218894"/>
            <a:ext cx="472420" cy="47242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635BA062-D43C-3CFC-29D9-18502DA8454F}"/>
              </a:ext>
            </a:extLst>
          </p:cNvPr>
          <p:cNvCxnSpPr>
            <a:cxnSpLocks/>
          </p:cNvCxnSpPr>
          <p:nvPr/>
        </p:nvCxnSpPr>
        <p:spPr>
          <a:xfrm>
            <a:off x="1409700" y="3660921"/>
            <a:ext cx="1857375"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E1D4C5-5177-269C-5C34-F0AD0FDA77A4}"/>
              </a:ext>
            </a:extLst>
          </p:cNvPr>
          <p:cNvCxnSpPr>
            <a:cxnSpLocks/>
          </p:cNvCxnSpPr>
          <p:nvPr/>
        </p:nvCxnSpPr>
        <p:spPr>
          <a:xfrm>
            <a:off x="3952875" y="3910843"/>
            <a:ext cx="1857375"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EF4545A-9E37-4F80-17CA-E9F289F8C6CA}"/>
              </a:ext>
            </a:extLst>
          </p:cNvPr>
          <p:cNvCxnSpPr>
            <a:cxnSpLocks/>
          </p:cNvCxnSpPr>
          <p:nvPr/>
        </p:nvCxnSpPr>
        <p:spPr>
          <a:xfrm>
            <a:off x="6477000" y="4247626"/>
            <a:ext cx="1857375"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8CFABEA-59F8-4E0E-84C7-175AD98C349E}"/>
              </a:ext>
            </a:extLst>
          </p:cNvPr>
          <p:cNvCxnSpPr>
            <a:cxnSpLocks/>
          </p:cNvCxnSpPr>
          <p:nvPr/>
        </p:nvCxnSpPr>
        <p:spPr>
          <a:xfrm>
            <a:off x="9029197" y="3660921"/>
            <a:ext cx="1857375"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2E68F13-83BF-98D5-7821-705C14B6EA13}"/>
              </a:ext>
            </a:extLst>
          </p:cNvPr>
          <p:cNvSpPr txBox="1"/>
          <p:nvPr/>
        </p:nvSpPr>
        <p:spPr>
          <a:xfrm>
            <a:off x="3819525" y="1864536"/>
            <a:ext cx="5039040" cy="430887"/>
          </a:xfrm>
          <a:prstGeom prst="rect">
            <a:avLst/>
          </a:prstGeom>
          <a:noFill/>
        </p:spPr>
        <p:txBody>
          <a:bodyPr wrap="square">
            <a:spAutoFit/>
          </a:bodyPr>
          <a:lstStyle/>
          <a:p>
            <a:pPr algn="ctr"/>
            <a:r>
              <a:rPr lang="nb-NO" sz="1100" b="1" dirty="0">
                <a:solidFill>
                  <a:schemeClr val="tx1">
                    <a:lumMod val="75000"/>
                    <a:lumOff val="25000"/>
                  </a:schemeClr>
                </a:solidFill>
              </a:rPr>
              <a:t>Nedbrytning av de som </a:t>
            </a:r>
            <a:r>
              <a:rPr lang="nb-NO" sz="1100" b="1" i="1" dirty="0">
                <a:solidFill>
                  <a:schemeClr val="tx1">
                    <a:lumMod val="75000"/>
                    <a:lumOff val="25000"/>
                  </a:schemeClr>
                </a:solidFill>
              </a:rPr>
              <a:t>har vært involvert/part i foreldretvist/barnefordelingssak eller barnevernssak i rettssystemet</a:t>
            </a:r>
            <a:endParaRPr lang="en-US" sz="1100" b="1" i="1" dirty="0">
              <a:solidFill>
                <a:schemeClr val="tx1">
                  <a:lumMod val="75000"/>
                  <a:lumOff val="25000"/>
                </a:schemeClr>
              </a:solidFill>
            </a:endParaRPr>
          </a:p>
        </p:txBody>
      </p:sp>
      <p:grpSp>
        <p:nvGrpSpPr>
          <p:cNvPr id="24" name="SigEvoPos">
            <a:extLst>
              <a:ext uri="{FF2B5EF4-FFF2-40B4-BE49-F238E27FC236}">
                <a16:creationId xmlns:a16="http://schemas.microsoft.com/office/drawing/2014/main" id="{8DD76D74-8875-63C8-CEC3-CFB335932E2C}"/>
              </a:ext>
            </a:extLst>
          </p:cNvPr>
          <p:cNvGrpSpPr/>
          <p:nvPr/>
        </p:nvGrpSpPr>
        <p:grpSpPr>
          <a:xfrm>
            <a:off x="2074431" y="2149695"/>
            <a:ext cx="131336" cy="131336"/>
            <a:chOff x="7716328" y="2107098"/>
            <a:chExt cx="216000" cy="216000"/>
          </a:xfrm>
        </p:grpSpPr>
        <p:sp>
          <p:nvSpPr>
            <p:cNvPr id="25" name="Oval 24">
              <a:extLst>
                <a:ext uri="{FF2B5EF4-FFF2-40B4-BE49-F238E27FC236}">
                  <a16:creationId xmlns:a16="http://schemas.microsoft.com/office/drawing/2014/main" id="{EC6DEA2E-132A-72CD-0FB9-269C9E4B1644}"/>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6" name="Group 25">
              <a:extLst>
                <a:ext uri="{FF2B5EF4-FFF2-40B4-BE49-F238E27FC236}">
                  <a16:creationId xmlns:a16="http://schemas.microsoft.com/office/drawing/2014/main" id="{82ED19FA-AB41-75AC-9240-2D77095DAD11}"/>
                </a:ext>
              </a:extLst>
            </p:cNvPr>
            <p:cNvGrpSpPr>
              <a:grpSpLocks noChangeAspect="1"/>
            </p:cNvGrpSpPr>
            <p:nvPr/>
          </p:nvGrpSpPr>
          <p:grpSpPr>
            <a:xfrm rot="18900000">
              <a:off x="7758327" y="2179098"/>
              <a:ext cx="132003" cy="72000"/>
              <a:chOff x="10144608" y="897887"/>
              <a:chExt cx="326542" cy="178110"/>
            </a:xfrm>
          </p:grpSpPr>
          <p:sp>
            <p:nvSpPr>
              <p:cNvPr id="27" name="Line 34">
                <a:extLst>
                  <a:ext uri="{FF2B5EF4-FFF2-40B4-BE49-F238E27FC236}">
                    <a16:creationId xmlns:a16="http://schemas.microsoft.com/office/drawing/2014/main" id="{006EDE90-44BB-1FA8-1F72-B6928BDE080F}"/>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Rectangle 11">
                <a:extLst>
                  <a:ext uri="{FF2B5EF4-FFF2-40B4-BE49-F238E27FC236}">
                    <a16:creationId xmlns:a16="http://schemas.microsoft.com/office/drawing/2014/main" id="{6F8CC139-2EC3-9F38-5803-DAD7787B4DB1}"/>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9" name="SigEvoPos">
            <a:extLst>
              <a:ext uri="{FF2B5EF4-FFF2-40B4-BE49-F238E27FC236}">
                <a16:creationId xmlns:a16="http://schemas.microsoft.com/office/drawing/2014/main" id="{3893275D-67A1-DF84-0E39-44574D67A732}"/>
              </a:ext>
            </a:extLst>
          </p:cNvPr>
          <p:cNvGrpSpPr/>
          <p:nvPr/>
        </p:nvGrpSpPr>
        <p:grpSpPr>
          <a:xfrm>
            <a:off x="2518854" y="2781036"/>
            <a:ext cx="131336" cy="131336"/>
            <a:chOff x="7716328" y="2107098"/>
            <a:chExt cx="216000" cy="216000"/>
          </a:xfrm>
        </p:grpSpPr>
        <p:sp>
          <p:nvSpPr>
            <p:cNvPr id="30" name="Oval 29">
              <a:extLst>
                <a:ext uri="{FF2B5EF4-FFF2-40B4-BE49-F238E27FC236}">
                  <a16:creationId xmlns:a16="http://schemas.microsoft.com/office/drawing/2014/main" id="{56D9753B-CB30-E508-F5E6-BB87C72CFB5C}"/>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31" name="Group 30">
              <a:extLst>
                <a:ext uri="{FF2B5EF4-FFF2-40B4-BE49-F238E27FC236}">
                  <a16:creationId xmlns:a16="http://schemas.microsoft.com/office/drawing/2014/main" id="{C163BFA3-2DDB-BB45-49D1-1F14F62A18C3}"/>
                </a:ext>
              </a:extLst>
            </p:cNvPr>
            <p:cNvGrpSpPr>
              <a:grpSpLocks noChangeAspect="1"/>
            </p:cNvGrpSpPr>
            <p:nvPr/>
          </p:nvGrpSpPr>
          <p:grpSpPr>
            <a:xfrm rot="18900000">
              <a:off x="7758327" y="2179098"/>
              <a:ext cx="132003" cy="72000"/>
              <a:chOff x="10144608" y="897887"/>
              <a:chExt cx="326542" cy="178110"/>
            </a:xfrm>
          </p:grpSpPr>
          <p:sp>
            <p:nvSpPr>
              <p:cNvPr id="32" name="Line 34">
                <a:extLst>
                  <a:ext uri="{FF2B5EF4-FFF2-40B4-BE49-F238E27FC236}">
                    <a16:creationId xmlns:a16="http://schemas.microsoft.com/office/drawing/2014/main" id="{55739809-4E1F-C3D5-C39C-FCC700738121}"/>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3" name="Rectangle 11">
                <a:extLst>
                  <a:ext uri="{FF2B5EF4-FFF2-40B4-BE49-F238E27FC236}">
                    <a16:creationId xmlns:a16="http://schemas.microsoft.com/office/drawing/2014/main" id="{CEF82F16-E175-8827-E9B3-0EE3CD950B0D}"/>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34" name="SigEvoPos">
            <a:extLst>
              <a:ext uri="{FF2B5EF4-FFF2-40B4-BE49-F238E27FC236}">
                <a16:creationId xmlns:a16="http://schemas.microsoft.com/office/drawing/2014/main" id="{9BDD2AB0-D73C-1B09-6935-BB169098C62C}"/>
              </a:ext>
            </a:extLst>
          </p:cNvPr>
          <p:cNvGrpSpPr/>
          <p:nvPr/>
        </p:nvGrpSpPr>
        <p:grpSpPr>
          <a:xfrm>
            <a:off x="5049256" y="2818437"/>
            <a:ext cx="131336" cy="131336"/>
            <a:chOff x="7716328" y="2107098"/>
            <a:chExt cx="216000" cy="216000"/>
          </a:xfrm>
        </p:grpSpPr>
        <p:sp>
          <p:nvSpPr>
            <p:cNvPr id="35" name="Oval 34">
              <a:extLst>
                <a:ext uri="{FF2B5EF4-FFF2-40B4-BE49-F238E27FC236}">
                  <a16:creationId xmlns:a16="http://schemas.microsoft.com/office/drawing/2014/main" id="{7A49A265-EA99-D1E8-75B1-199084846C8C}"/>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36" name="Group 35">
              <a:extLst>
                <a:ext uri="{FF2B5EF4-FFF2-40B4-BE49-F238E27FC236}">
                  <a16:creationId xmlns:a16="http://schemas.microsoft.com/office/drawing/2014/main" id="{C6AA3C9E-6AEB-D08C-7A66-6FC34D7A5FC0}"/>
                </a:ext>
              </a:extLst>
            </p:cNvPr>
            <p:cNvGrpSpPr>
              <a:grpSpLocks noChangeAspect="1"/>
            </p:cNvGrpSpPr>
            <p:nvPr/>
          </p:nvGrpSpPr>
          <p:grpSpPr>
            <a:xfrm rot="18900000">
              <a:off x="7758327" y="2179098"/>
              <a:ext cx="132003" cy="72000"/>
              <a:chOff x="10144608" y="897887"/>
              <a:chExt cx="326542" cy="178110"/>
            </a:xfrm>
          </p:grpSpPr>
          <p:sp>
            <p:nvSpPr>
              <p:cNvPr id="37" name="Line 34">
                <a:extLst>
                  <a:ext uri="{FF2B5EF4-FFF2-40B4-BE49-F238E27FC236}">
                    <a16:creationId xmlns:a16="http://schemas.microsoft.com/office/drawing/2014/main" id="{7921478A-DEA1-5436-2A52-4C6A657B0D29}"/>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8" name="Rectangle 11">
                <a:extLst>
                  <a:ext uri="{FF2B5EF4-FFF2-40B4-BE49-F238E27FC236}">
                    <a16:creationId xmlns:a16="http://schemas.microsoft.com/office/drawing/2014/main" id="{02005EC1-F4B4-BF3C-1ADB-CA2C9DB21E7D}"/>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39" name="SigEvoPos">
            <a:extLst>
              <a:ext uri="{FF2B5EF4-FFF2-40B4-BE49-F238E27FC236}">
                <a16:creationId xmlns:a16="http://schemas.microsoft.com/office/drawing/2014/main" id="{922C332C-FC0F-6A8E-A5B4-D20A5F3E09F3}"/>
              </a:ext>
            </a:extLst>
          </p:cNvPr>
          <p:cNvGrpSpPr/>
          <p:nvPr/>
        </p:nvGrpSpPr>
        <p:grpSpPr>
          <a:xfrm>
            <a:off x="7135231" y="3451034"/>
            <a:ext cx="131336" cy="131336"/>
            <a:chOff x="7716328" y="2107098"/>
            <a:chExt cx="216000" cy="216000"/>
          </a:xfrm>
        </p:grpSpPr>
        <p:sp>
          <p:nvSpPr>
            <p:cNvPr id="40" name="Oval 39">
              <a:extLst>
                <a:ext uri="{FF2B5EF4-FFF2-40B4-BE49-F238E27FC236}">
                  <a16:creationId xmlns:a16="http://schemas.microsoft.com/office/drawing/2014/main" id="{346A63FB-73FC-DB73-4C4B-8910BCB3D56B}"/>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41" name="Group 40">
              <a:extLst>
                <a:ext uri="{FF2B5EF4-FFF2-40B4-BE49-F238E27FC236}">
                  <a16:creationId xmlns:a16="http://schemas.microsoft.com/office/drawing/2014/main" id="{EADCD694-A2D0-0B56-3F10-4992DBDC78DB}"/>
                </a:ext>
              </a:extLst>
            </p:cNvPr>
            <p:cNvGrpSpPr>
              <a:grpSpLocks noChangeAspect="1"/>
            </p:cNvGrpSpPr>
            <p:nvPr/>
          </p:nvGrpSpPr>
          <p:grpSpPr>
            <a:xfrm rot="18900000">
              <a:off x="7758327" y="2179098"/>
              <a:ext cx="132003" cy="72000"/>
              <a:chOff x="10144608" y="897887"/>
              <a:chExt cx="326542" cy="178110"/>
            </a:xfrm>
          </p:grpSpPr>
          <p:sp>
            <p:nvSpPr>
              <p:cNvPr id="42" name="Line 34">
                <a:extLst>
                  <a:ext uri="{FF2B5EF4-FFF2-40B4-BE49-F238E27FC236}">
                    <a16:creationId xmlns:a16="http://schemas.microsoft.com/office/drawing/2014/main" id="{DDDC64BA-157C-8860-FEBC-540F7BC7D3ED}"/>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3" name="Rectangle 11">
                <a:extLst>
                  <a:ext uri="{FF2B5EF4-FFF2-40B4-BE49-F238E27FC236}">
                    <a16:creationId xmlns:a16="http://schemas.microsoft.com/office/drawing/2014/main" id="{1A879B92-312D-6461-CE73-BCDFEF1A4D93}"/>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44" name="SigEvoNeg">
            <a:extLst>
              <a:ext uri="{FF2B5EF4-FFF2-40B4-BE49-F238E27FC236}">
                <a16:creationId xmlns:a16="http://schemas.microsoft.com/office/drawing/2014/main" id="{8CAE0C3F-AE67-6519-E17E-DBB333267FFA}"/>
              </a:ext>
            </a:extLst>
          </p:cNvPr>
          <p:cNvGrpSpPr/>
          <p:nvPr/>
        </p:nvGrpSpPr>
        <p:grpSpPr>
          <a:xfrm>
            <a:off x="2962273" y="3409598"/>
            <a:ext cx="131333" cy="131333"/>
            <a:chOff x="8011603" y="2107098"/>
            <a:chExt cx="216000" cy="216000"/>
          </a:xfrm>
        </p:grpSpPr>
        <p:sp>
          <p:nvSpPr>
            <p:cNvPr id="45" name="Oval 44">
              <a:extLst>
                <a:ext uri="{FF2B5EF4-FFF2-40B4-BE49-F238E27FC236}">
                  <a16:creationId xmlns:a16="http://schemas.microsoft.com/office/drawing/2014/main" id="{9B5E171E-E617-211D-A87F-0F0592DBB916}"/>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46" name="Group 45">
              <a:extLst>
                <a:ext uri="{FF2B5EF4-FFF2-40B4-BE49-F238E27FC236}">
                  <a16:creationId xmlns:a16="http://schemas.microsoft.com/office/drawing/2014/main" id="{75890275-A62B-80A4-AE8F-AA1CAC87363D}"/>
                </a:ext>
              </a:extLst>
            </p:cNvPr>
            <p:cNvGrpSpPr>
              <a:grpSpLocks noChangeAspect="1"/>
            </p:cNvGrpSpPr>
            <p:nvPr/>
          </p:nvGrpSpPr>
          <p:grpSpPr>
            <a:xfrm rot="2700000">
              <a:off x="8053602" y="2179098"/>
              <a:ext cx="132003" cy="72000"/>
              <a:chOff x="10144608" y="897887"/>
              <a:chExt cx="326542" cy="178110"/>
            </a:xfrm>
          </p:grpSpPr>
          <p:sp>
            <p:nvSpPr>
              <p:cNvPr id="47" name="Line 34">
                <a:extLst>
                  <a:ext uri="{FF2B5EF4-FFF2-40B4-BE49-F238E27FC236}">
                    <a16:creationId xmlns:a16="http://schemas.microsoft.com/office/drawing/2014/main" id="{B2AC3AA3-5079-AA08-C146-BC99EB750465}"/>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8" name="Rectangle 11">
                <a:extLst>
                  <a:ext uri="{FF2B5EF4-FFF2-40B4-BE49-F238E27FC236}">
                    <a16:creationId xmlns:a16="http://schemas.microsoft.com/office/drawing/2014/main" id="{FBE8046A-6417-4601-C93B-4CD2EBFA4D7E}"/>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49" name="SigEvoNeg">
            <a:extLst>
              <a:ext uri="{FF2B5EF4-FFF2-40B4-BE49-F238E27FC236}">
                <a16:creationId xmlns:a16="http://schemas.microsoft.com/office/drawing/2014/main" id="{418422F6-7686-3533-2C10-84268779965A}"/>
              </a:ext>
            </a:extLst>
          </p:cNvPr>
          <p:cNvGrpSpPr/>
          <p:nvPr/>
        </p:nvGrpSpPr>
        <p:grpSpPr>
          <a:xfrm>
            <a:off x="5506895" y="3618339"/>
            <a:ext cx="131333" cy="131333"/>
            <a:chOff x="8011603" y="2107098"/>
            <a:chExt cx="216000" cy="216000"/>
          </a:xfrm>
        </p:grpSpPr>
        <p:sp>
          <p:nvSpPr>
            <p:cNvPr id="50" name="Oval 49">
              <a:extLst>
                <a:ext uri="{FF2B5EF4-FFF2-40B4-BE49-F238E27FC236}">
                  <a16:creationId xmlns:a16="http://schemas.microsoft.com/office/drawing/2014/main" id="{92D41FAE-C990-BDFD-E957-4EEFEAED8930}"/>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51" name="Group 50">
              <a:extLst>
                <a:ext uri="{FF2B5EF4-FFF2-40B4-BE49-F238E27FC236}">
                  <a16:creationId xmlns:a16="http://schemas.microsoft.com/office/drawing/2014/main" id="{B39EEDC4-91EA-597A-3762-9FE6A7139D41}"/>
                </a:ext>
              </a:extLst>
            </p:cNvPr>
            <p:cNvGrpSpPr>
              <a:grpSpLocks noChangeAspect="1"/>
            </p:cNvGrpSpPr>
            <p:nvPr/>
          </p:nvGrpSpPr>
          <p:grpSpPr>
            <a:xfrm rot="2700000">
              <a:off x="8053602" y="2179098"/>
              <a:ext cx="132003" cy="72000"/>
              <a:chOff x="10144608" y="897887"/>
              <a:chExt cx="326542" cy="178110"/>
            </a:xfrm>
          </p:grpSpPr>
          <p:sp>
            <p:nvSpPr>
              <p:cNvPr id="52" name="Line 34">
                <a:extLst>
                  <a:ext uri="{FF2B5EF4-FFF2-40B4-BE49-F238E27FC236}">
                    <a16:creationId xmlns:a16="http://schemas.microsoft.com/office/drawing/2014/main" id="{0D759422-044A-705B-942A-4CBC11D67D68}"/>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3" name="Rectangle 11">
                <a:extLst>
                  <a:ext uri="{FF2B5EF4-FFF2-40B4-BE49-F238E27FC236}">
                    <a16:creationId xmlns:a16="http://schemas.microsoft.com/office/drawing/2014/main" id="{DB670DF5-79D3-5A3C-F9CD-5AEE9F04AF78}"/>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54" name="SigEvoNeg">
            <a:extLst>
              <a:ext uri="{FF2B5EF4-FFF2-40B4-BE49-F238E27FC236}">
                <a16:creationId xmlns:a16="http://schemas.microsoft.com/office/drawing/2014/main" id="{FD31C3FB-0401-740B-C85A-F522E7231AEA}"/>
              </a:ext>
            </a:extLst>
          </p:cNvPr>
          <p:cNvGrpSpPr/>
          <p:nvPr/>
        </p:nvGrpSpPr>
        <p:grpSpPr>
          <a:xfrm>
            <a:off x="8035564" y="3940940"/>
            <a:ext cx="131333" cy="131333"/>
            <a:chOff x="8011603" y="2107098"/>
            <a:chExt cx="216000" cy="216000"/>
          </a:xfrm>
        </p:grpSpPr>
        <p:sp>
          <p:nvSpPr>
            <p:cNvPr id="55" name="Oval 54">
              <a:extLst>
                <a:ext uri="{FF2B5EF4-FFF2-40B4-BE49-F238E27FC236}">
                  <a16:creationId xmlns:a16="http://schemas.microsoft.com/office/drawing/2014/main" id="{671905DF-BDBC-E496-9859-DFC9795512B3}"/>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56" name="Group 55">
              <a:extLst>
                <a:ext uri="{FF2B5EF4-FFF2-40B4-BE49-F238E27FC236}">
                  <a16:creationId xmlns:a16="http://schemas.microsoft.com/office/drawing/2014/main" id="{6971B8F2-FC44-1B94-485C-85CED5C1E3FC}"/>
                </a:ext>
              </a:extLst>
            </p:cNvPr>
            <p:cNvGrpSpPr>
              <a:grpSpLocks noChangeAspect="1"/>
            </p:cNvGrpSpPr>
            <p:nvPr/>
          </p:nvGrpSpPr>
          <p:grpSpPr>
            <a:xfrm rot="2700000">
              <a:off x="8053602" y="2179098"/>
              <a:ext cx="132003" cy="72000"/>
              <a:chOff x="10144608" y="897887"/>
              <a:chExt cx="326542" cy="178110"/>
            </a:xfrm>
          </p:grpSpPr>
          <p:sp>
            <p:nvSpPr>
              <p:cNvPr id="57" name="Line 34">
                <a:extLst>
                  <a:ext uri="{FF2B5EF4-FFF2-40B4-BE49-F238E27FC236}">
                    <a16:creationId xmlns:a16="http://schemas.microsoft.com/office/drawing/2014/main" id="{769893DA-099E-8E0E-1AFC-BB6CB3AE3D3F}"/>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8" name="Rectangle 11">
                <a:extLst>
                  <a:ext uri="{FF2B5EF4-FFF2-40B4-BE49-F238E27FC236}">
                    <a16:creationId xmlns:a16="http://schemas.microsoft.com/office/drawing/2014/main" id="{6F81C55E-B282-9732-2928-57DFD08FA35C}"/>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59" name="SigEvoPos">
            <a:extLst>
              <a:ext uri="{FF2B5EF4-FFF2-40B4-BE49-F238E27FC236}">
                <a16:creationId xmlns:a16="http://schemas.microsoft.com/office/drawing/2014/main" id="{1C17DF1E-998E-6EEB-84A2-A2FB5D52B2C5}"/>
              </a:ext>
            </a:extLst>
          </p:cNvPr>
          <p:cNvGrpSpPr/>
          <p:nvPr/>
        </p:nvGrpSpPr>
        <p:grpSpPr>
          <a:xfrm>
            <a:off x="10555469" y="3114216"/>
            <a:ext cx="131336" cy="131336"/>
            <a:chOff x="7716328" y="2107098"/>
            <a:chExt cx="216000" cy="216000"/>
          </a:xfrm>
        </p:grpSpPr>
        <p:sp>
          <p:nvSpPr>
            <p:cNvPr id="60" name="Oval 59">
              <a:extLst>
                <a:ext uri="{FF2B5EF4-FFF2-40B4-BE49-F238E27FC236}">
                  <a16:creationId xmlns:a16="http://schemas.microsoft.com/office/drawing/2014/main" id="{CA6EFCD4-902D-E806-7A2A-80C7AB9F814B}"/>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61" name="Group 60">
              <a:extLst>
                <a:ext uri="{FF2B5EF4-FFF2-40B4-BE49-F238E27FC236}">
                  <a16:creationId xmlns:a16="http://schemas.microsoft.com/office/drawing/2014/main" id="{131D32C4-23E0-9493-C2EE-CE932CCF0C37}"/>
                </a:ext>
              </a:extLst>
            </p:cNvPr>
            <p:cNvGrpSpPr>
              <a:grpSpLocks noChangeAspect="1"/>
            </p:cNvGrpSpPr>
            <p:nvPr/>
          </p:nvGrpSpPr>
          <p:grpSpPr>
            <a:xfrm rot="18900000">
              <a:off x="7758327" y="2179098"/>
              <a:ext cx="132003" cy="72000"/>
              <a:chOff x="10144608" y="897887"/>
              <a:chExt cx="326542" cy="178110"/>
            </a:xfrm>
          </p:grpSpPr>
          <p:sp>
            <p:nvSpPr>
              <p:cNvPr id="62" name="Line 34">
                <a:extLst>
                  <a:ext uri="{FF2B5EF4-FFF2-40B4-BE49-F238E27FC236}">
                    <a16:creationId xmlns:a16="http://schemas.microsoft.com/office/drawing/2014/main" id="{46C93514-6EF4-AFCA-1371-A4650DF01822}"/>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3" name="Rectangle 11">
                <a:extLst>
                  <a:ext uri="{FF2B5EF4-FFF2-40B4-BE49-F238E27FC236}">
                    <a16:creationId xmlns:a16="http://schemas.microsoft.com/office/drawing/2014/main" id="{145B751B-7B64-4649-C2FE-399C5309B12C}"/>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3" name="SigEvoPos">
            <a:extLst>
              <a:ext uri="{FF2B5EF4-FFF2-40B4-BE49-F238E27FC236}">
                <a16:creationId xmlns:a16="http://schemas.microsoft.com/office/drawing/2014/main" id="{F5101172-68C6-1414-AFEB-56BD731DFA1B}"/>
              </a:ext>
            </a:extLst>
          </p:cNvPr>
          <p:cNvGrpSpPr/>
          <p:nvPr/>
        </p:nvGrpSpPr>
        <p:grpSpPr>
          <a:xfrm>
            <a:off x="4609113" y="2950214"/>
            <a:ext cx="131336" cy="131336"/>
            <a:chOff x="7716328" y="2107098"/>
            <a:chExt cx="216000" cy="216000"/>
          </a:xfrm>
        </p:grpSpPr>
        <p:sp>
          <p:nvSpPr>
            <p:cNvPr id="4" name="Oval 3">
              <a:extLst>
                <a:ext uri="{FF2B5EF4-FFF2-40B4-BE49-F238E27FC236}">
                  <a16:creationId xmlns:a16="http://schemas.microsoft.com/office/drawing/2014/main" id="{82CE64EE-6D16-1333-3536-08CDBC1E8147}"/>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9" name="Group 8">
              <a:extLst>
                <a:ext uri="{FF2B5EF4-FFF2-40B4-BE49-F238E27FC236}">
                  <a16:creationId xmlns:a16="http://schemas.microsoft.com/office/drawing/2014/main" id="{B3EC553D-C5E6-FB67-7E4B-EE3A71E7C98B}"/>
                </a:ext>
              </a:extLst>
            </p:cNvPr>
            <p:cNvGrpSpPr>
              <a:grpSpLocks noChangeAspect="1"/>
            </p:cNvGrpSpPr>
            <p:nvPr/>
          </p:nvGrpSpPr>
          <p:grpSpPr>
            <a:xfrm rot="18900000">
              <a:off x="7758327" y="2179098"/>
              <a:ext cx="132003" cy="72000"/>
              <a:chOff x="10144608" y="897887"/>
              <a:chExt cx="326542" cy="178110"/>
            </a:xfrm>
          </p:grpSpPr>
          <p:sp>
            <p:nvSpPr>
              <p:cNvPr id="10" name="Line 34">
                <a:extLst>
                  <a:ext uri="{FF2B5EF4-FFF2-40B4-BE49-F238E27FC236}">
                    <a16:creationId xmlns:a16="http://schemas.microsoft.com/office/drawing/2014/main" id="{B027ACC4-C30F-49FA-4212-0D3D68441FAF}"/>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Rectangle 11">
                <a:extLst>
                  <a:ext uri="{FF2B5EF4-FFF2-40B4-BE49-F238E27FC236}">
                    <a16:creationId xmlns:a16="http://schemas.microsoft.com/office/drawing/2014/main" id="{17A1D836-4CC1-62AB-8F65-D34C14465B62}"/>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15" name="SigEvoPos">
            <a:extLst>
              <a:ext uri="{FF2B5EF4-FFF2-40B4-BE49-F238E27FC236}">
                <a16:creationId xmlns:a16="http://schemas.microsoft.com/office/drawing/2014/main" id="{ACD32513-2AAD-974D-3564-D604DA32E37C}"/>
              </a:ext>
            </a:extLst>
          </p:cNvPr>
          <p:cNvGrpSpPr/>
          <p:nvPr/>
        </p:nvGrpSpPr>
        <p:grpSpPr>
          <a:xfrm>
            <a:off x="7589635" y="3460821"/>
            <a:ext cx="131336" cy="131336"/>
            <a:chOff x="7716328" y="2107098"/>
            <a:chExt cx="216000" cy="216000"/>
          </a:xfrm>
        </p:grpSpPr>
        <p:sp>
          <p:nvSpPr>
            <p:cNvPr id="20" name="Oval 19">
              <a:extLst>
                <a:ext uri="{FF2B5EF4-FFF2-40B4-BE49-F238E27FC236}">
                  <a16:creationId xmlns:a16="http://schemas.microsoft.com/office/drawing/2014/main" id="{A17A872D-DE3C-CDDD-A512-F680A15D4B0F}"/>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1" name="Group 20">
              <a:extLst>
                <a:ext uri="{FF2B5EF4-FFF2-40B4-BE49-F238E27FC236}">
                  <a16:creationId xmlns:a16="http://schemas.microsoft.com/office/drawing/2014/main" id="{F6557DDE-7FD7-434E-D6C2-C77931528DCD}"/>
                </a:ext>
              </a:extLst>
            </p:cNvPr>
            <p:cNvGrpSpPr>
              <a:grpSpLocks noChangeAspect="1"/>
            </p:cNvGrpSpPr>
            <p:nvPr/>
          </p:nvGrpSpPr>
          <p:grpSpPr>
            <a:xfrm rot="18900000">
              <a:off x="7758327" y="2179098"/>
              <a:ext cx="132003" cy="72000"/>
              <a:chOff x="10144608" y="897887"/>
              <a:chExt cx="326542" cy="178110"/>
            </a:xfrm>
          </p:grpSpPr>
          <p:sp>
            <p:nvSpPr>
              <p:cNvPr id="22" name="Line 34">
                <a:extLst>
                  <a:ext uri="{FF2B5EF4-FFF2-40B4-BE49-F238E27FC236}">
                    <a16:creationId xmlns:a16="http://schemas.microsoft.com/office/drawing/2014/main" id="{95BE3D3E-7704-DC27-EF0F-653464A26948}"/>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4" name="Rectangle 11">
                <a:extLst>
                  <a:ext uri="{FF2B5EF4-FFF2-40B4-BE49-F238E27FC236}">
                    <a16:creationId xmlns:a16="http://schemas.microsoft.com/office/drawing/2014/main" id="{5BD6BAB5-21FC-E6AE-1FBB-CAD3941CB081}"/>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spTree>
    <p:extLst>
      <p:ext uri="{BB962C8B-B14F-4D97-AF65-F5344CB8AC3E}">
        <p14:creationId xmlns:p14="http://schemas.microsoft.com/office/powerpoint/2010/main" val="3266784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4704F41F-6C16-4EED-9C68-25CA0E2FE2BB}"/>
              </a:ext>
            </a:extLst>
          </p:cNvPr>
          <p:cNvSpPr>
            <a:spLocks noGrp="1"/>
          </p:cNvSpPr>
          <p:nvPr>
            <p:ph type="sldNum" sz="quarter" idx="18"/>
          </p:nvPr>
        </p:nvSpPr>
        <p:spPr/>
        <p:txBody>
          <a:bodyPr/>
          <a:lstStyle/>
          <a:p>
            <a:fld id="{D61AABEC-672F-4B68-B914-690DA978312C}" type="slidenum">
              <a:rPr lang="nb-NO" smtClean="0"/>
              <a:pPr/>
              <a:t>7</a:t>
            </a:fld>
            <a:r>
              <a:rPr lang="nb-NO" dirty="0"/>
              <a:t> </a:t>
            </a:r>
          </a:p>
        </p:txBody>
      </p:sp>
      <p:sp>
        <p:nvSpPr>
          <p:cNvPr id="5" name="Plassholder for tekst 4">
            <a:extLst>
              <a:ext uri="{FF2B5EF4-FFF2-40B4-BE49-F238E27FC236}">
                <a16:creationId xmlns:a16="http://schemas.microsoft.com/office/drawing/2014/main" id="{A999A219-7114-4451-ACCA-FC2BE3484064}"/>
              </a:ext>
            </a:extLst>
          </p:cNvPr>
          <p:cNvSpPr>
            <a:spLocks noGrp="1"/>
          </p:cNvSpPr>
          <p:nvPr>
            <p:ph type="body" sz="quarter" idx="19"/>
          </p:nvPr>
        </p:nvSpPr>
        <p:spPr>
          <a:xfrm>
            <a:off x="407988" y="848440"/>
            <a:ext cx="10130703" cy="349702"/>
          </a:xfrm>
        </p:spPr>
        <p:txBody>
          <a:bodyPr/>
          <a:lstStyle/>
          <a:p>
            <a:r>
              <a:rPr lang="nb-NO" b="1" dirty="0"/>
              <a:t>De fleste har middels tillit til at norske domstoler i barnesaker treffer beslutninger som er til barnets beste. Foreldre som har vært involverte i en foreldretvist eller barnevernssak har lavest tillit.</a:t>
            </a:r>
          </a:p>
        </p:txBody>
      </p:sp>
      <p:sp>
        <p:nvSpPr>
          <p:cNvPr id="14" name="Text Box 5">
            <a:extLst>
              <a:ext uri="{FF2B5EF4-FFF2-40B4-BE49-F238E27FC236}">
                <a16:creationId xmlns:a16="http://schemas.microsoft.com/office/drawing/2014/main" id="{868F37A9-8055-4848-9859-98082BA04E6B}"/>
              </a:ext>
            </a:extLst>
          </p:cNvPr>
          <p:cNvSpPr txBox="1">
            <a:spLocks noChangeArrowheads="1"/>
          </p:cNvSpPr>
          <p:nvPr/>
        </p:nvSpPr>
        <p:spPr bwMode="auto">
          <a:xfrm>
            <a:off x="929620" y="6346735"/>
            <a:ext cx="10130702" cy="249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lnSpc>
                <a:spcPct val="90000"/>
              </a:lnSpc>
              <a:spcBef>
                <a:spcPct val="0"/>
              </a:spcBef>
              <a:spcAft>
                <a:spcPct val="0"/>
              </a:spcAft>
            </a:pPr>
            <a:r>
              <a:rPr lang="nb-NO" sz="900" dirty="0">
                <a:solidFill>
                  <a:schemeClr val="bg1">
                    <a:lumMod val="50000"/>
                  </a:schemeClr>
                </a:solidFill>
              </a:rPr>
              <a:t>Q:f2f3. Hvor høy tillit har du til at norske domstoler i barnesaker (både barnevernssaker og foreldretvister) treffer beslutninger som er til barnets beste?</a:t>
            </a:r>
            <a:br>
              <a:rPr lang="nb-NO" sz="900" dirty="0">
                <a:solidFill>
                  <a:schemeClr val="bg1">
                    <a:lumMod val="50000"/>
                  </a:schemeClr>
                </a:solidFill>
              </a:rPr>
            </a:br>
            <a:r>
              <a:rPr lang="nb-NO" sz="900" dirty="0">
                <a:solidFill>
                  <a:schemeClr val="bg1">
                    <a:lumMod val="50000"/>
                  </a:schemeClr>
                </a:solidFill>
              </a:rPr>
              <a:t>// Base: Total N=1087, Ja som part, dvs. som mor eller far til barnet n=87, Ja, i en annen rolle n=138, Nei ikke involvert n=855</a:t>
            </a:r>
            <a:endParaRPr lang="nb-NO" sz="1100" dirty="0">
              <a:solidFill>
                <a:schemeClr val="bg1">
                  <a:lumMod val="50000"/>
                </a:schemeClr>
              </a:solidFill>
              <a:cs typeface="Arial" pitchFamily="34" charset="0"/>
            </a:endParaRPr>
          </a:p>
        </p:txBody>
      </p:sp>
      <p:sp>
        <p:nvSpPr>
          <p:cNvPr id="17" name="TextBox 16">
            <a:extLst>
              <a:ext uri="{FF2B5EF4-FFF2-40B4-BE49-F238E27FC236}">
                <a16:creationId xmlns:a16="http://schemas.microsoft.com/office/drawing/2014/main" id="{0C93B72C-BC2A-5766-D266-7DB565A7FA41}"/>
              </a:ext>
            </a:extLst>
          </p:cNvPr>
          <p:cNvSpPr txBox="1"/>
          <p:nvPr/>
        </p:nvSpPr>
        <p:spPr>
          <a:xfrm>
            <a:off x="2257824" y="1459258"/>
            <a:ext cx="7200501" cy="430887"/>
          </a:xfrm>
          <a:prstGeom prst="rect">
            <a:avLst/>
          </a:prstGeom>
        </p:spPr>
        <p:txBody>
          <a:bodyPr vert="horz" wrap="square" lIns="0" tIns="0" rIns="0" bIns="0" rtlCol="0">
            <a:spAutoFit/>
          </a:bodyPr>
          <a:lstStyle/>
          <a:p>
            <a:pPr algn="ctr"/>
            <a:r>
              <a:rPr lang="nb-NO" sz="1400" b="1" dirty="0">
                <a:solidFill>
                  <a:schemeClr val="tx1">
                    <a:lumMod val="90000"/>
                    <a:lumOff val="10000"/>
                  </a:schemeClr>
                </a:solidFill>
                <a:latin typeface="+mj-lt"/>
              </a:rPr>
              <a:t>TILLIT TIL AT NORSKE DOMSTOLER I BARNESAKER TREFFER BESLUTNINGER SOM ER TIL BARNETS BESTE</a:t>
            </a:r>
          </a:p>
        </p:txBody>
      </p:sp>
      <p:graphicFrame>
        <p:nvGraphicFramePr>
          <p:cNvPr id="3" name="Table 2">
            <a:extLst>
              <a:ext uri="{FF2B5EF4-FFF2-40B4-BE49-F238E27FC236}">
                <a16:creationId xmlns:a16="http://schemas.microsoft.com/office/drawing/2014/main" id="{D01C20B9-62C5-49B5-DBB0-F99AC65D2F22}"/>
              </a:ext>
            </a:extLst>
          </p:cNvPr>
          <p:cNvGraphicFramePr>
            <a:graphicFrameLocks noGrp="1"/>
          </p:cNvGraphicFramePr>
          <p:nvPr>
            <p:extLst>
              <p:ext uri="{D42A27DB-BD31-4B8C-83A1-F6EECF244321}">
                <p14:modId xmlns:p14="http://schemas.microsoft.com/office/powerpoint/2010/main" val="391708152"/>
              </p:ext>
            </p:extLst>
          </p:nvPr>
        </p:nvGraphicFramePr>
        <p:xfrm>
          <a:off x="1123949" y="2123513"/>
          <a:ext cx="8535152" cy="648000"/>
        </p:xfrm>
        <a:graphic>
          <a:graphicData uri="http://schemas.openxmlformats.org/drawingml/2006/table">
            <a:tbl>
              <a:tblPr firstRow="1" bandRow="1">
                <a:tableStyleId>{2D5ABB26-0587-4C30-8999-92F81FD0307C}</a:tableStyleId>
              </a:tblPr>
              <a:tblGrid>
                <a:gridCol w="2133788">
                  <a:extLst>
                    <a:ext uri="{9D8B030D-6E8A-4147-A177-3AD203B41FA5}">
                      <a16:colId xmlns:a16="http://schemas.microsoft.com/office/drawing/2014/main" val="2820400169"/>
                    </a:ext>
                  </a:extLst>
                </a:gridCol>
                <a:gridCol w="2133788">
                  <a:extLst>
                    <a:ext uri="{9D8B030D-6E8A-4147-A177-3AD203B41FA5}">
                      <a16:colId xmlns:a16="http://schemas.microsoft.com/office/drawing/2014/main" val="3982777495"/>
                    </a:ext>
                  </a:extLst>
                </a:gridCol>
                <a:gridCol w="2133788">
                  <a:extLst>
                    <a:ext uri="{9D8B030D-6E8A-4147-A177-3AD203B41FA5}">
                      <a16:colId xmlns:a16="http://schemas.microsoft.com/office/drawing/2014/main" val="1442247664"/>
                    </a:ext>
                  </a:extLst>
                </a:gridCol>
                <a:gridCol w="2133788">
                  <a:extLst>
                    <a:ext uri="{9D8B030D-6E8A-4147-A177-3AD203B41FA5}">
                      <a16:colId xmlns:a16="http://schemas.microsoft.com/office/drawing/2014/main" val="2884445455"/>
                    </a:ext>
                  </a:extLst>
                </a:gridCol>
              </a:tblGrid>
              <a:tr h="288000">
                <a:tc>
                  <a:txBody>
                    <a:bodyPr/>
                    <a:lstStyle/>
                    <a:p>
                      <a:pPr marL="0" algn="ctr" defTabSz="914400" rtl="0" eaLnBrk="1" latinLnBrk="0" hangingPunct="1"/>
                      <a:r>
                        <a:rPr lang="en-US" sz="1200" b="0" kern="1200" dirty="0">
                          <a:solidFill>
                            <a:schemeClr val="bg1"/>
                          </a:solidFill>
                          <a:latin typeface="+mj-lt"/>
                          <a:ea typeface="+mn-ea"/>
                          <a:cs typeface="+mn-cs"/>
                        </a:rPr>
                        <a:t>TOTAL</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algn="ctr" defTabSz="914400" rtl="0" eaLnBrk="1" latinLnBrk="0" hangingPunct="1"/>
                      <a:r>
                        <a:rPr lang="en-US" sz="1200" b="0" kern="1200" dirty="0">
                          <a:solidFill>
                            <a:schemeClr val="bg1"/>
                          </a:solidFill>
                          <a:latin typeface="+mj-lt"/>
                          <a:ea typeface="+mn-ea"/>
                          <a:cs typeface="+mn-cs"/>
                        </a:rPr>
                        <a:t>INVOLVERT/PART I EN BARNEFORDELING ELLER BARNEVERNSSAK</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600" dirty="0">
                        <a:latin typeface="+mj-lt"/>
                      </a:endParaRPr>
                    </a:p>
                  </a:txBody>
                  <a:tcPr marL="0" marR="0" marT="0" marB="0" anchor="ctr"/>
                </a:tc>
                <a:tc hMerge="1">
                  <a:txBody>
                    <a:bodyPr/>
                    <a:lstStyle/>
                    <a:p>
                      <a:pPr algn="ctr"/>
                      <a:endParaRPr lang="en-US" sz="1600" dirty="0">
                        <a:latin typeface="+mj-lt"/>
                      </a:endParaRPr>
                    </a:p>
                  </a:txBody>
                  <a:tcPr marL="0" marR="0" marT="0" marB="0" anchor="ctr"/>
                </a:tc>
                <a:extLst>
                  <a:ext uri="{0D108BD9-81ED-4DB2-BD59-A6C34878D82A}">
                    <a16:rowId xmlns:a16="http://schemas.microsoft.com/office/drawing/2014/main" val="2474601840"/>
                  </a:ext>
                </a:extLst>
              </a:tr>
              <a:tr h="360000">
                <a:tc>
                  <a:txBody>
                    <a:bodyPr/>
                    <a:lstStyle/>
                    <a:p>
                      <a:pPr algn="ctr"/>
                      <a:endParaRPr lang="en-US" sz="1400" b="1" dirty="0">
                        <a:solidFill>
                          <a:schemeClr val="tx1">
                            <a:lumMod val="75000"/>
                            <a:lumOff val="25000"/>
                          </a:schemeClr>
                        </a:solidFill>
                        <a:latin typeface="+mn-lt"/>
                      </a:endParaRP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400" b="1" noProof="0" dirty="0">
                          <a:solidFill>
                            <a:schemeClr val="accent1"/>
                          </a:solidFill>
                          <a:latin typeface="+mn-lt"/>
                        </a:rPr>
                        <a:t>Ja, mor eller far</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b="1" noProof="0" dirty="0">
                          <a:solidFill>
                            <a:schemeClr val="accent1"/>
                          </a:solidFill>
                          <a:latin typeface="+mn-lt"/>
                        </a:rPr>
                        <a:t>Ja, annen rolle</a:t>
                      </a:r>
                      <a:endParaRPr lang="nb-NO" sz="1400" b="1" kern="1200" noProof="0" dirty="0">
                        <a:solidFill>
                          <a:schemeClr val="accent1"/>
                        </a:solidFill>
                        <a:latin typeface="+mn-lt"/>
                        <a:ea typeface="+mn-ea"/>
                        <a:cs typeface="+mn-cs"/>
                      </a:endParaRP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400" b="1" noProof="0" dirty="0">
                          <a:solidFill>
                            <a:schemeClr val="accent1"/>
                          </a:solidFill>
                          <a:latin typeface="+mn-lt"/>
                        </a:rPr>
                        <a:t>Nei</a:t>
                      </a:r>
                      <a:endParaRPr lang="nb-NO" sz="1400" b="1" kern="1200" noProof="0" dirty="0">
                        <a:solidFill>
                          <a:schemeClr val="accent1"/>
                        </a:solidFill>
                        <a:latin typeface="+mn-lt"/>
                        <a:ea typeface="+mn-ea"/>
                        <a:cs typeface="+mn-cs"/>
                      </a:endParaRP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bl>
          </a:graphicData>
        </a:graphic>
      </p:graphicFrame>
      <p:graphicFrame>
        <p:nvGraphicFramePr>
          <p:cNvPr id="4" name="Chart 3">
            <a:extLst>
              <a:ext uri="{FF2B5EF4-FFF2-40B4-BE49-F238E27FC236}">
                <a16:creationId xmlns:a16="http://schemas.microsoft.com/office/drawing/2014/main" id="{912A6543-18D5-D804-33C1-7CFD5978DF12}"/>
              </a:ext>
            </a:extLst>
          </p:cNvPr>
          <p:cNvGraphicFramePr/>
          <p:nvPr>
            <p:extLst>
              <p:ext uri="{D42A27DB-BD31-4B8C-83A1-F6EECF244321}">
                <p14:modId xmlns:p14="http://schemas.microsoft.com/office/powerpoint/2010/main" val="1867931485"/>
              </p:ext>
            </p:extLst>
          </p:nvPr>
        </p:nvGraphicFramePr>
        <p:xfrm>
          <a:off x="952933" y="2771513"/>
          <a:ext cx="8848291" cy="3248025"/>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a:extLst>
              <a:ext uri="{FF2B5EF4-FFF2-40B4-BE49-F238E27FC236}">
                <a16:creationId xmlns:a16="http://schemas.microsoft.com/office/drawing/2014/main" id="{886F34C3-DD31-0CFC-5332-53CC57384AE6}"/>
              </a:ext>
            </a:extLst>
          </p:cNvPr>
          <p:cNvCxnSpPr>
            <a:cxnSpLocks/>
          </p:cNvCxnSpPr>
          <p:nvPr/>
        </p:nvCxnSpPr>
        <p:spPr>
          <a:xfrm>
            <a:off x="3260654" y="2123513"/>
            <a:ext cx="0" cy="34864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4C837263-2844-DF9E-A003-1CB746EED651}"/>
              </a:ext>
            </a:extLst>
          </p:cNvPr>
          <p:cNvGraphicFramePr>
            <a:graphicFrameLocks noGrp="1"/>
          </p:cNvGraphicFramePr>
          <p:nvPr>
            <p:extLst>
              <p:ext uri="{D42A27DB-BD31-4B8C-83A1-F6EECF244321}">
                <p14:modId xmlns:p14="http://schemas.microsoft.com/office/powerpoint/2010/main" val="786861587"/>
              </p:ext>
            </p:extLst>
          </p:nvPr>
        </p:nvGraphicFramePr>
        <p:xfrm>
          <a:off x="9801224" y="3088695"/>
          <a:ext cx="2088000" cy="1854520"/>
        </p:xfrm>
        <a:graphic>
          <a:graphicData uri="http://schemas.openxmlformats.org/drawingml/2006/table">
            <a:tbl>
              <a:tblPr>
                <a:tableStyleId>{2D5ABB26-0587-4C30-8999-92F81FD0307C}</a:tableStyleId>
              </a:tblPr>
              <a:tblGrid>
                <a:gridCol w="288000">
                  <a:extLst>
                    <a:ext uri="{9D8B030D-6E8A-4147-A177-3AD203B41FA5}">
                      <a16:colId xmlns:a16="http://schemas.microsoft.com/office/drawing/2014/main" val="2354454430"/>
                    </a:ext>
                  </a:extLst>
                </a:gridCol>
                <a:gridCol w="1800000">
                  <a:extLst>
                    <a:ext uri="{9D8B030D-6E8A-4147-A177-3AD203B41FA5}">
                      <a16:colId xmlns:a16="http://schemas.microsoft.com/office/drawing/2014/main" val="2015932734"/>
                    </a:ext>
                  </a:extLst>
                </a:gridCol>
              </a:tblGrid>
              <a:tr h="463630">
                <a:tc>
                  <a:txBody>
                    <a:bodyPr/>
                    <a:lstStyle/>
                    <a:p>
                      <a:pPr algn="r"/>
                      <a:endParaRPr lang="en-US" sz="1200" dirty="0">
                        <a:solidFill>
                          <a:schemeClr val="tx2"/>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chemeClr val="tx1"/>
                          </a:solidFill>
                          <a:effectLst/>
                          <a:uLnTx/>
                          <a:uFillTx/>
                          <a:latin typeface="+mn-lt"/>
                          <a:ea typeface="+mn-ea"/>
                          <a:cs typeface="+mn-cs"/>
                        </a:rPr>
                        <a:t>Vet ikke/kan ikke svare</a:t>
                      </a:r>
                    </a:p>
                  </a:txBody>
                  <a:tcPr marL="36000" marR="36000" marT="0" marB="0" anchor="ctr">
                    <a:noFill/>
                  </a:tcPr>
                </a:tc>
                <a:extLst>
                  <a:ext uri="{0D108BD9-81ED-4DB2-BD59-A6C34878D82A}">
                    <a16:rowId xmlns:a16="http://schemas.microsoft.com/office/drawing/2014/main" val="2428566398"/>
                  </a:ext>
                </a:extLst>
              </a:tr>
              <a:tr h="463630">
                <a:tc>
                  <a:txBody>
                    <a:bodyPr/>
                    <a:lstStyle/>
                    <a:p>
                      <a:pPr algn="r"/>
                      <a:endParaRPr lang="en-US" sz="1200" dirty="0">
                        <a:solidFill>
                          <a:schemeClr val="accent6">
                            <a:lumMod val="40000"/>
                            <a:lumOff val="60000"/>
                          </a:schemeClr>
                        </a:solidFill>
                        <a:latin typeface="+mn-lt"/>
                      </a:endParaRPr>
                    </a:p>
                  </a:txBody>
                  <a:tcPr marL="36000" marR="36000" marT="0" marB="0" anchor="ctr">
                    <a:noFill/>
                  </a:tcPr>
                </a:tc>
                <a:tc>
                  <a:txBody>
                    <a:bodyPr/>
                    <a:lstStyle/>
                    <a:p>
                      <a:r>
                        <a:rPr lang="nb-NO" sz="1200" noProof="0" dirty="0">
                          <a:solidFill>
                            <a:schemeClr val="tx1"/>
                          </a:solidFill>
                          <a:latin typeface="+mn-lt"/>
                        </a:rPr>
                        <a:t>Lav tillit</a:t>
                      </a:r>
                    </a:p>
                  </a:txBody>
                  <a:tcPr marL="36000" marR="36000" marT="0" marB="0" anchor="ctr">
                    <a:noFill/>
                  </a:tcPr>
                </a:tc>
                <a:extLst>
                  <a:ext uri="{0D108BD9-81ED-4DB2-BD59-A6C34878D82A}">
                    <a16:rowId xmlns:a16="http://schemas.microsoft.com/office/drawing/2014/main" val="2426978870"/>
                  </a:ext>
                </a:extLst>
              </a:tr>
              <a:tr h="463630">
                <a:tc>
                  <a:txBody>
                    <a:bodyPr/>
                    <a:lstStyle/>
                    <a:p>
                      <a:pPr algn="r"/>
                      <a:endParaRPr lang="en-US" sz="1200" dirty="0">
                        <a:solidFill>
                          <a:schemeClr val="accent5"/>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chemeClr val="tx1"/>
                          </a:solidFill>
                          <a:effectLst/>
                          <a:uLnTx/>
                          <a:uFillTx/>
                          <a:latin typeface="+mn-lt"/>
                          <a:ea typeface="+mn-ea"/>
                          <a:cs typeface="+mn-cs"/>
                        </a:rPr>
                        <a:t>Middels tillit</a:t>
                      </a:r>
                    </a:p>
                  </a:txBody>
                  <a:tcPr marL="36000" marR="36000" marT="0" marB="0" anchor="ctr">
                    <a:noFill/>
                  </a:tcPr>
                </a:tc>
                <a:extLst>
                  <a:ext uri="{0D108BD9-81ED-4DB2-BD59-A6C34878D82A}">
                    <a16:rowId xmlns:a16="http://schemas.microsoft.com/office/drawing/2014/main" val="15591479"/>
                  </a:ext>
                </a:extLst>
              </a:tr>
              <a:tr h="463630">
                <a:tc>
                  <a:txBody>
                    <a:bodyPr/>
                    <a:lstStyle/>
                    <a:p>
                      <a:pPr algn="r"/>
                      <a:endParaRPr lang="en-US" sz="1200" dirty="0">
                        <a:solidFill>
                          <a:schemeClr val="accent5"/>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chemeClr val="tx1"/>
                          </a:solidFill>
                          <a:effectLst/>
                          <a:uLnTx/>
                          <a:uFillTx/>
                          <a:latin typeface="+mn-lt"/>
                          <a:ea typeface="+mn-ea"/>
                          <a:cs typeface="+mn-cs"/>
                        </a:rPr>
                        <a:t>Høy tillit</a:t>
                      </a:r>
                    </a:p>
                  </a:txBody>
                  <a:tcPr marL="36000" marR="36000" marT="0" marB="0" anchor="ctr">
                    <a:noFill/>
                  </a:tcPr>
                </a:tc>
                <a:extLst>
                  <a:ext uri="{0D108BD9-81ED-4DB2-BD59-A6C34878D82A}">
                    <a16:rowId xmlns:a16="http://schemas.microsoft.com/office/drawing/2014/main" val="1758428676"/>
                  </a:ext>
                </a:extLst>
              </a:tr>
            </a:tbl>
          </a:graphicData>
        </a:graphic>
      </p:graphicFrame>
      <p:sp>
        <p:nvSpPr>
          <p:cNvPr id="9" name="Rectangle 8">
            <a:extLst>
              <a:ext uri="{FF2B5EF4-FFF2-40B4-BE49-F238E27FC236}">
                <a16:creationId xmlns:a16="http://schemas.microsoft.com/office/drawing/2014/main" id="{7A393910-3A44-9F90-E0A7-A70D0E555BE3}"/>
              </a:ext>
            </a:extLst>
          </p:cNvPr>
          <p:cNvSpPr/>
          <p:nvPr/>
        </p:nvSpPr>
        <p:spPr>
          <a:xfrm>
            <a:off x="9881466" y="3276338"/>
            <a:ext cx="115200" cy="114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0" name="Rectangle 9">
            <a:extLst>
              <a:ext uri="{FF2B5EF4-FFF2-40B4-BE49-F238E27FC236}">
                <a16:creationId xmlns:a16="http://schemas.microsoft.com/office/drawing/2014/main" id="{B8466E5A-D44F-13E7-9914-7514BC48C471}"/>
              </a:ext>
            </a:extLst>
          </p:cNvPr>
          <p:cNvSpPr/>
          <p:nvPr/>
        </p:nvSpPr>
        <p:spPr>
          <a:xfrm>
            <a:off x="9881466" y="3755445"/>
            <a:ext cx="115200" cy="1143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1" name="Rectangle 10">
            <a:extLst>
              <a:ext uri="{FF2B5EF4-FFF2-40B4-BE49-F238E27FC236}">
                <a16:creationId xmlns:a16="http://schemas.microsoft.com/office/drawing/2014/main" id="{9868C064-DFD4-1F8B-F1F6-66ECB2FC3BE2}"/>
              </a:ext>
            </a:extLst>
          </p:cNvPr>
          <p:cNvSpPr/>
          <p:nvPr/>
        </p:nvSpPr>
        <p:spPr>
          <a:xfrm>
            <a:off x="9881466" y="4191689"/>
            <a:ext cx="115200" cy="1143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Rectangle 11">
            <a:extLst>
              <a:ext uri="{FF2B5EF4-FFF2-40B4-BE49-F238E27FC236}">
                <a16:creationId xmlns:a16="http://schemas.microsoft.com/office/drawing/2014/main" id="{C68844FE-3EE3-FF12-807C-8FB0216BA0BA}"/>
              </a:ext>
            </a:extLst>
          </p:cNvPr>
          <p:cNvSpPr/>
          <p:nvPr/>
        </p:nvSpPr>
        <p:spPr>
          <a:xfrm>
            <a:off x="9881466" y="4670796"/>
            <a:ext cx="115200" cy="1143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6" name="Picture 8" descr="No photo description available.">
            <a:extLst>
              <a:ext uri="{FF2B5EF4-FFF2-40B4-BE49-F238E27FC236}">
                <a16:creationId xmlns:a16="http://schemas.microsoft.com/office/drawing/2014/main" id="{9B1081CB-21BE-1295-44E3-A2284E73892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28836" y="218894"/>
            <a:ext cx="472420" cy="472420"/>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SigEvoPos">
            <a:extLst>
              <a:ext uri="{FF2B5EF4-FFF2-40B4-BE49-F238E27FC236}">
                <a16:creationId xmlns:a16="http://schemas.microsoft.com/office/drawing/2014/main" id="{D198CB8B-57EB-A30F-330E-B702A15E413A}"/>
              </a:ext>
            </a:extLst>
          </p:cNvPr>
          <p:cNvGrpSpPr/>
          <p:nvPr/>
        </p:nvGrpSpPr>
        <p:grpSpPr>
          <a:xfrm>
            <a:off x="4440039" y="3143429"/>
            <a:ext cx="131336" cy="131336"/>
            <a:chOff x="7716328" y="2107098"/>
            <a:chExt cx="216000" cy="216000"/>
          </a:xfrm>
        </p:grpSpPr>
        <p:sp>
          <p:nvSpPr>
            <p:cNvPr id="43" name="Oval 42">
              <a:extLst>
                <a:ext uri="{FF2B5EF4-FFF2-40B4-BE49-F238E27FC236}">
                  <a16:creationId xmlns:a16="http://schemas.microsoft.com/office/drawing/2014/main" id="{D4D9FAAD-21EB-B8B7-CB6D-535D04EA8C5C}"/>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44" name="Group 43">
              <a:extLst>
                <a:ext uri="{FF2B5EF4-FFF2-40B4-BE49-F238E27FC236}">
                  <a16:creationId xmlns:a16="http://schemas.microsoft.com/office/drawing/2014/main" id="{CD4AC686-F309-3FC4-0EA3-07054B584A2F}"/>
                </a:ext>
              </a:extLst>
            </p:cNvPr>
            <p:cNvGrpSpPr>
              <a:grpSpLocks noChangeAspect="1"/>
            </p:cNvGrpSpPr>
            <p:nvPr/>
          </p:nvGrpSpPr>
          <p:grpSpPr>
            <a:xfrm rot="18900000">
              <a:off x="7758327" y="2179098"/>
              <a:ext cx="132003" cy="72000"/>
              <a:chOff x="10144608" y="897887"/>
              <a:chExt cx="326542" cy="178110"/>
            </a:xfrm>
          </p:grpSpPr>
          <p:sp>
            <p:nvSpPr>
              <p:cNvPr id="45" name="Line 34">
                <a:extLst>
                  <a:ext uri="{FF2B5EF4-FFF2-40B4-BE49-F238E27FC236}">
                    <a16:creationId xmlns:a16="http://schemas.microsoft.com/office/drawing/2014/main" id="{0C482AB5-263D-D2F0-8D1D-751924C9753F}"/>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6" name="Rectangle 11">
                <a:extLst>
                  <a:ext uri="{FF2B5EF4-FFF2-40B4-BE49-F238E27FC236}">
                    <a16:creationId xmlns:a16="http://schemas.microsoft.com/office/drawing/2014/main" id="{B121111E-C584-0811-C131-E71963BA0AD8}"/>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spTree>
    <p:extLst>
      <p:ext uri="{BB962C8B-B14F-4D97-AF65-F5344CB8AC3E}">
        <p14:creationId xmlns:p14="http://schemas.microsoft.com/office/powerpoint/2010/main" val="457515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4704F41F-6C16-4EED-9C68-25CA0E2FE2BB}"/>
              </a:ext>
            </a:extLst>
          </p:cNvPr>
          <p:cNvSpPr>
            <a:spLocks noGrp="1"/>
          </p:cNvSpPr>
          <p:nvPr>
            <p:ph type="sldNum" sz="quarter" idx="18"/>
          </p:nvPr>
        </p:nvSpPr>
        <p:spPr/>
        <p:txBody>
          <a:bodyPr/>
          <a:lstStyle/>
          <a:p>
            <a:fld id="{D61AABEC-672F-4B68-B914-690DA978312C}" type="slidenum">
              <a:rPr lang="nb-NO" smtClean="0"/>
              <a:pPr/>
              <a:t>8</a:t>
            </a:fld>
            <a:r>
              <a:rPr lang="nb-NO" dirty="0"/>
              <a:t> </a:t>
            </a:r>
          </a:p>
        </p:txBody>
      </p:sp>
      <p:sp>
        <p:nvSpPr>
          <p:cNvPr id="5" name="Plassholder for tekst 4">
            <a:extLst>
              <a:ext uri="{FF2B5EF4-FFF2-40B4-BE49-F238E27FC236}">
                <a16:creationId xmlns:a16="http://schemas.microsoft.com/office/drawing/2014/main" id="{A999A219-7114-4451-ACCA-FC2BE3484064}"/>
              </a:ext>
            </a:extLst>
          </p:cNvPr>
          <p:cNvSpPr>
            <a:spLocks noGrp="1"/>
          </p:cNvSpPr>
          <p:nvPr>
            <p:ph type="body" sz="quarter" idx="19"/>
          </p:nvPr>
        </p:nvSpPr>
        <p:spPr>
          <a:xfrm>
            <a:off x="407988" y="722605"/>
            <a:ext cx="10130703" cy="349702"/>
          </a:xfrm>
        </p:spPr>
        <p:txBody>
          <a:bodyPr/>
          <a:lstStyle/>
          <a:p>
            <a:r>
              <a:rPr lang="nb-NO" sz="2000" b="1" dirty="0"/>
              <a:t>Menn, 18-29 åringer, og de bosatt i Oslo har høyest tillit til at norske domstoler i barnesaker treffer beslutninger som er til barnets beste.</a:t>
            </a:r>
          </a:p>
        </p:txBody>
      </p:sp>
      <p:sp>
        <p:nvSpPr>
          <p:cNvPr id="14" name="Text Box 5">
            <a:extLst>
              <a:ext uri="{FF2B5EF4-FFF2-40B4-BE49-F238E27FC236}">
                <a16:creationId xmlns:a16="http://schemas.microsoft.com/office/drawing/2014/main" id="{868F37A9-8055-4848-9859-98082BA04E6B}"/>
              </a:ext>
            </a:extLst>
          </p:cNvPr>
          <p:cNvSpPr txBox="1">
            <a:spLocks noChangeArrowheads="1"/>
          </p:cNvSpPr>
          <p:nvPr/>
        </p:nvSpPr>
        <p:spPr bwMode="auto">
          <a:xfrm>
            <a:off x="929620" y="6346735"/>
            <a:ext cx="10130702" cy="249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lnSpc>
                <a:spcPct val="90000"/>
              </a:lnSpc>
              <a:spcBef>
                <a:spcPct val="0"/>
              </a:spcBef>
              <a:spcAft>
                <a:spcPct val="0"/>
              </a:spcAft>
            </a:pPr>
            <a:r>
              <a:rPr lang="nb-NO" sz="900" dirty="0">
                <a:solidFill>
                  <a:schemeClr val="bg1">
                    <a:lumMod val="50000"/>
                  </a:schemeClr>
                </a:solidFill>
              </a:rPr>
              <a:t>Q:f2f3. Hvor høy tillit har du til at norske domstoler i barnesaker (både barnevernssaker og foreldretvister) treffer beslutninger som er til barnets beste?</a:t>
            </a:r>
            <a:br>
              <a:rPr lang="nb-NO" sz="900" dirty="0">
                <a:solidFill>
                  <a:schemeClr val="bg1">
                    <a:lumMod val="50000"/>
                  </a:schemeClr>
                </a:solidFill>
              </a:rPr>
            </a:br>
            <a:r>
              <a:rPr lang="nb-NO" sz="900" dirty="0">
                <a:solidFill>
                  <a:schemeClr val="bg1">
                    <a:lumMod val="50000"/>
                  </a:schemeClr>
                </a:solidFill>
              </a:rPr>
              <a:t>// Base: Total N=1087, Ja involvert n=116, Ja part n=100, Nei ikke involvert n=853</a:t>
            </a:r>
            <a:endParaRPr lang="nb-NO" sz="1100" dirty="0">
              <a:solidFill>
                <a:schemeClr val="bg1">
                  <a:lumMod val="50000"/>
                </a:schemeClr>
              </a:solidFill>
              <a:cs typeface="Arial" pitchFamily="34" charset="0"/>
            </a:endParaRPr>
          </a:p>
        </p:txBody>
      </p:sp>
      <p:sp>
        <p:nvSpPr>
          <p:cNvPr id="17" name="TextBox 16">
            <a:extLst>
              <a:ext uri="{FF2B5EF4-FFF2-40B4-BE49-F238E27FC236}">
                <a16:creationId xmlns:a16="http://schemas.microsoft.com/office/drawing/2014/main" id="{0C93B72C-BC2A-5766-D266-7DB565A7FA41}"/>
              </a:ext>
            </a:extLst>
          </p:cNvPr>
          <p:cNvSpPr txBox="1"/>
          <p:nvPr/>
        </p:nvSpPr>
        <p:spPr>
          <a:xfrm>
            <a:off x="2257824" y="1459258"/>
            <a:ext cx="7200501" cy="430887"/>
          </a:xfrm>
          <a:prstGeom prst="rect">
            <a:avLst/>
          </a:prstGeom>
        </p:spPr>
        <p:txBody>
          <a:bodyPr vert="horz" wrap="square" lIns="0" tIns="0" rIns="0" bIns="0" rtlCol="0">
            <a:spAutoFit/>
          </a:bodyPr>
          <a:lstStyle/>
          <a:p>
            <a:pPr algn="ctr"/>
            <a:r>
              <a:rPr lang="nb-NO" sz="1400" b="1" dirty="0">
                <a:solidFill>
                  <a:schemeClr val="tx1">
                    <a:lumMod val="90000"/>
                    <a:lumOff val="10000"/>
                  </a:schemeClr>
                </a:solidFill>
                <a:latin typeface="+mj-lt"/>
              </a:rPr>
              <a:t>TILLIT TIL AT NORSKE DOMSTOLER I BARNESAKER TREFFER BESLUTNINGER SOM ER TIL BARNETS BESTE</a:t>
            </a:r>
          </a:p>
        </p:txBody>
      </p:sp>
      <p:graphicFrame>
        <p:nvGraphicFramePr>
          <p:cNvPr id="3" name="Table 2">
            <a:extLst>
              <a:ext uri="{FF2B5EF4-FFF2-40B4-BE49-F238E27FC236}">
                <a16:creationId xmlns:a16="http://schemas.microsoft.com/office/drawing/2014/main" id="{D01C20B9-62C5-49B5-DBB0-F99AC65D2F22}"/>
              </a:ext>
            </a:extLst>
          </p:cNvPr>
          <p:cNvGraphicFramePr>
            <a:graphicFrameLocks noGrp="1"/>
          </p:cNvGraphicFramePr>
          <p:nvPr>
            <p:extLst>
              <p:ext uri="{D42A27DB-BD31-4B8C-83A1-F6EECF244321}">
                <p14:modId xmlns:p14="http://schemas.microsoft.com/office/powerpoint/2010/main" val="2106316426"/>
              </p:ext>
            </p:extLst>
          </p:nvPr>
        </p:nvGraphicFramePr>
        <p:xfrm>
          <a:off x="649363" y="2123513"/>
          <a:ext cx="9163668" cy="648000"/>
        </p:xfrm>
        <a:graphic>
          <a:graphicData uri="http://schemas.openxmlformats.org/drawingml/2006/table">
            <a:tbl>
              <a:tblPr firstRow="1" bandRow="1">
                <a:tableStyleId>{2D5ABB26-0587-4C30-8999-92F81FD0307C}</a:tableStyleId>
              </a:tblPr>
              <a:tblGrid>
                <a:gridCol w="763639">
                  <a:extLst>
                    <a:ext uri="{9D8B030D-6E8A-4147-A177-3AD203B41FA5}">
                      <a16:colId xmlns:a16="http://schemas.microsoft.com/office/drawing/2014/main" val="2820400169"/>
                    </a:ext>
                  </a:extLst>
                </a:gridCol>
                <a:gridCol w="763639">
                  <a:extLst>
                    <a:ext uri="{9D8B030D-6E8A-4147-A177-3AD203B41FA5}">
                      <a16:colId xmlns:a16="http://schemas.microsoft.com/office/drawing/2014/main" val="3369021572"/>
                    </a:ext>
                  </a:extLst>
                </a:gridCol>
                <a:gridCol w="763639">
                  <a:extLst>
                    <a:ext uri="{9D8B030D-6E8A-4147-A177-3AD203B41FA5}">
                      <a16:colId xmlns:a16="http://schemas.microsoft.com/office/drawing/2014/main" val="3447961212"/>
                    </a:ext>
                  </a:extLst>
                </a:gridCol>
                <a:gridCol w="763639">
                  <a:extLst>
                    <a:ext uri="{9D8B030D-6E8A-4147-A177-3AD203B41FA5}">
                      <a16:colId xmlns:a16="http://schemas.microsoft.com/office/drawing/2014/main" val="2644427117"/>
                    </a:ext>
                  </a:extLst>
                </a:gridCol>
                <a:gridCol w="763639">
                  <a:extLst>
                    <a:ext uri="{9D8B030D-6E8A-4147-A177-3AD203B41FA5}">
                      <a16:colId xmlns:a16="http://schemas.microsoft.com/office/drawing/2014/main" val="171636179"/>
                    </a:ext>
                  </a:extLst>
                </a:gridCol>
                <a:gridCol w="763639">
                  <a:extLst>
                    <a:ext uri="{9D8B030D-6E8A-4147-A177-3AD203B41FA5}">
                      <a16:colId xmlns:a16="http://schemas.microsoft.com/office/drawing/2014/main" val="3443268594"/>
                    </a:ext>
                  </a:extLst>
                </a:gridCol>
                <a:gridCol w="763639">
                  <a:extLst>
                    <a:ext uri="{9D8B030D-6E8A-4147-A177-3AD203B41FA5}">
                      <a16:colId xmlns:a16="http://schemas.microsoft.com/office/drawing/2014/main" val="3783164523"/>
                    </a:ext>
                  </a:extLst>
                </a:gridCol>
                <a:gridCol w="763639">
                  <a:extLst>
                    <a:ext uri="{9D8B030D-6E8A-4147-A177-3AD203B41FA5}">
                      <a16:colId xmlns:a16="http://schemas.microsoft.com/office/drawing/2014/main" val="968332400"/>
                    </a:ext>
                  </a:extLst>
                </a:gridCol>
                <a:gridCol w="763639">
                  <a:extLst>
                    <a:ext uri="{9D8B030D-6E8A-4147-A177-3AD203B41FA5}">
                      <a16:colId xmlns:a16="http://schemas.microsoft.com/office/drawing/2014/main" val="3741091554"/>
                    </a:ext>
                  </a:extLst>
                </a:gridCol>
                <a:gridCol w="763639">
                  <a:extLst>
                    <a:ext uri="{9D8B030D-6E8A-4147-A177-3AD203B41FA5}">
                      <a16:colId xmlns:a16="http://schemas.microsoft.com/office/drawing/2014/main" val="2802393087"/>
                    </a:ext>
                  </a:extLst>
                </a:gridCol>
                <a:gridCol w="763639">
                  <a:extLst>
                    <a:ext uri="{9D8B030D-6E8A-4147-A177-3AD203B41FA5}">
                      <a16:colId xmlns:a16="http://schemas.microsoft.com/office/drawing/2014/main" val="2644760427"/>
                    </a:ext>
                  </a:extLst>
                </a:gridCol>
                <a:gridCol w="763639">
                  <a:extLst>
                    <a:ext uri="{9D8B030D-6E8A-4147-A177-3AD203B41FA5}">
                      <a16:colId xmlns:a16="http://schemas.microsoft.com/office/drawing/2014/main" val="712455586"/>
                    </a:ext>
                  </a:extLst>
                </a:gridCol>
              </a:tblGrid>
              <a:tr h="288000">
                <a:tc>
                  <a:txBody>
                    <a:bodyPr/>
                    <a:lstStyle/>
                    <a:p>
                      <a:pPr marL="0" algn="ctr" defTabSz="914400" rtl="0" eaLnBrk="1" latinLnBrk="0" hangingPunct="1"/>
                      <a:r>
                        <a:rPr lang="en-US" sz="1200" b="0" kern="1200" dirty="0">
                          <a:solidFill>
                            <a:schemeClr val="bg1"/>
                          </a:solidFill>
                          <a:latin typeface="+mj-lt"/>
                          <a:ea typeface="+mn-ea"/>
                          <a:cs typeface="+mn-cs"/>
                        </a:rPr>
                        <a:t>TOTAL</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ctr" defTabSz="914400" rtl="0" eaLnBrk="1" latinLnBrk="0" hangingPunct="1"/>
                      <a:r>
                        <a:rPr lang="en-US" sz="1200" b="0" kern="1200" dirty="0">
                          <a:solidFill>
                            <a:schemeClr val="bg1"/>
                          </a:solidFill>
                          <a:latin typeface="+mj-lt"/>
                          <a:ea typeface="+mn-ea"/>
                          <a:cs typeface="+mn-cs"/>
                        </a:rPr>
                        <a:t>KJØNN</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marL="0" algn="ctr" defTabSz="914400" rtl="0" eaLnBrk="1" latinLnBrk="0" hangingPunct="1"/>
                      <a:r>
                        <a:rPr lang="en-US" sz="1200" b="0" kern="1200" dirty="0">
                          <a:solidFill>
                            <a:schemeClr val="bg1"/>
                          </a:solidFill>
                          <a:latin typeface="+mj-lt"/>
                          <a:ea typeface="+mn-ea"/>
                          <a:cs typeface="+mn-cs"/>
                        </a:rPr>
                        <a:t>ALDER</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5">
                  <a:txBody>
                    <a:bodyPr/>
                    <a:lstStyle/>
                    <a:p>
                      <a:pPr marL="0" algn="ctr" defTabSz="914400" rtl="0" eaLnBrk="1" latinLnBrk="0" hangingPunct="1"/>
                      <a:r>
                        <a:rPr lang="en-US" sz="1200" b="0" kern="1200" dirty="0">
                          <a:solidFill>
                            <a:schemeClr val="bg1"/>
                          </a:solidFill>
                          <a:latin typeface="+mj-lt"/>
                          <a:ea typeface="+mn-ea"/>
                          <a:cs typeface="+mn-cs"/>
                        </a:rPr>
                        <a:t>LANDSDEL</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360000">
                <a:tc>
                  <a:txBody>
                    <a:bodyPr/>
                    <a:lstStyle/>
                    <a:p>
                      <a:pPr algn="ctr"/>
                      <a:endParaRPr lang="en-US" sz="1100" b="1" dirty="0">
                        <a:solidFill>
                          <a:schemeClr val="tx1">
                            <a:lumMod val="75000"/>
                            <a:lumOff val="25000"/>
                          </a:schemeClr>
                        </a:solidFill>
                        <a:latin typeface="+mn-lt"/>
                      </a:endParaRP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100" b="1" noProof="0" dirty="0">
                          <a:solidFill>
                            <a:schemeClr val="tx1">
                              <a:lumMod val="75000"/>
                              <a:lumOff val="25000"/>
                            </a:schemeClr>
                          </a:solidFill>
                          <a:latin typeface="+mn-lt"/>
                        </a:rPr>
                        <a:t>Mann</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100" b="1" noProof="0" dirty="0">
                          <a:solidFill>
                            <a:schemeClr val="tx1">
                              <a:lumMod val="75000"/>
                              <a:lumOff val="25000"/>
                            </a:schemeClr>
                          </a:solidFill>
                          <a:latin typeface="+mn-lt"/>
                        </a:rPr>
                        <a:t>Kvinne</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chemeClr val="tx1">
                              <a:lumMod val="75000"/>
                              <a:lumOff val="25000"/>
                            </a:schemeClr>
                          </a:solidFill>
                          <a:latin typeface="+mn-lt"/>
                        </a:rPr>
                        <a:t>18-29</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chemeClr val="tx1">
                              <a:lumMod val="75000"/>
                              <a:lumOff val="25000"/>
                            </a:schemeClr>
                          </a:solidFill>
                          <a:latin typeface="+mn-lt"/>
                        </a:rPr>
                        <a:t>30-39</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chemeClr val="tx1">
                              <a:lumMod val="75000"/>
                              <a:lumOff val="25000"/>
                            </a:schemeClr>
                          </a:solidFill>
                          <a:latin typeface="+mn-lt"/>
                        </a:rPr>
                        <a:t>40-59</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chemeClr val="tx1">
                              <a:lumMod val="75000"/>
                              <a:lumOff val="25000"/>
                            </a:schemeClr>
                          </a:solidFill>
                          <a:latin typeface="+mn-lt"/>
                        </a:rPr>
                        <a:t>60+</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Oslo</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Østlandet ellers</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Vestlandet</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Midt </a:t>
                      </a:r>
                      <a:br>
                        <a:rPr lang="nb-NO" sz="1050" b="1" noProof="0" dirty="0">
                          <a:solidFill>
                            <a:schemeClr val="tx1">
                              <a:lumMod val="75000"/>
                              <a:lumOff val="25000"/>
                            </a:schemeClr>
                          </a:solidFill>
                          <a:latin typeface="+mn-lt"/>
                        </a:rPr>
                      </a:br>
                      <a:r>
                        <a:rPr lang="nb-NO" sz="1050" b="1" noProof="0" dirty="0">
                          <a:solidFill>
                            <a:schemeClr val="tx1">
                              <a:lumMod val="75000"/>
                              <a:lumOff val="25000"/>
                            </a:schemeClr>
                          </a:solidFill>
                          <a:latin typeface="+mn-lt"/>
                        </a:rPr>
                        <a:t>Norge</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Nord </a:t>
                      </a:r>
                      <a:br>
                        <a:rPr lang="nb-NO" sz="1050" b="1" noProof="0" dirty="0">
                          <a:solidFill>
                            <a:schemeClr val="tx1">
                              <a:lumMod val="75000"/>
                              <a:lumOff val="25000"/>
                            </a:schemeClr>
                          </a:solidFill>
                          <a:latin typeface="+mn-lt"/>
                        </a:rPr>
                      </a:br>
                      <a:r>
                        <a:rPr lang="nb-NO" sz="1050" b="1" noProof="0" dirty="0">
                          <a:solidFill>
                            <a:schemeClr val="tx1">
                              <a:lumMod val="75000"/>
                              <a:lumOff val="25000"/>
                            </a:schemeClr>
                          </a:solidFill>
                          <a:latin typeface="+mn-lt"/>
                        </a:rPr>
                        <a:t>Norge</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bl>
          </a:graphicData>
        </a:graphic>
      </p:graphicFrame>
      <p:graphicFrame>
        <p:nvGraphicFramePr>
          <p:cNvPr id="4" name="Chart 3">
            <a:extLst>
              <a:ext uri="{FF2B5EF4-FFF2-40B4-BE49-F238E27FC236}">
                <a16:creationId xmlns:a16="http://schemas.microsoft.com/office/drawing/2014/main" id="{912A6543-18D5-D804-33C1-7CFD5978DF12}"/>
              </a:ext>
            </a:extLst>
          </p:cNvPr>
          <p:cNvGraphicFramePr/>
          <p:nvPr>
            <p:extLst>
              <p:ext uri="{D42A27DB-BD31-4B8C-83A1-F6EECF244321}">
                <p14:modId xmlns:p14="http://schemas.microsoft.com/office/powerpoint/2010/main" val="2403984229"/>
              </p:ext>
            </p:extLst>
          </p:nvPr>
        </p:nvGraphicFramePr>
        <p:xfrm>
          <a:off x="637567" y="2771513"/>
          <a:ext cx="9163658" cy="3248025"/>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a:extLst>
              <a:ext uri="{FF2B5EF4-FFF2-40B4-BE49-F238E27FC236}">
                <a16:creationId xmlns:a16="http://schemas.microsoft.com/office/drawing/2014/main" id="{886F34C3-DD31-0CFC-5332-53CC57384AE6}"/>
              </a:ext>
            </a:extLst>
          </p:cNvPr>
          <p:cNvCxnSpPr>
            <a:cxnSpLocks/>
          </p:cNvCxnSpPr>
          <p:nvPr/>
        </p:nvCxnSpPr>
        <p:spPr>
          <a:xfrm>
            <a:off x="1406685" y="2123513"/>
            <a:ext cx="0" cy="34864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4C837263-2844-DF9E-A003-1CB746EED651}"/>
              </a:ext>
            </a:extLst>
          </p:cNvPr>
          <p:cNvGraphicFramePr>
            <a:graphicFrameLocks noGrp="1"/>
          </p:cNvGraphicFramePr>
          <p:nvPr>
            <p:extLst>
              <p:ext uri="{D42A27DB-BD31-4B8C-83A1-F6EECF244321}">
                <p14:modId xmlns:p14="http://schemas.microsoft.com/office/powerpoint/2010/main" val="750299122"/>
              </p:ext>
            </p:extLst>
          </p:nvPr>
        </p:nvGraphicFramePr>
        <p:xfrm>
          <a:off x="9985782" y="3088695"/>
          <a:ext cx="2088000" cy="1854520"/>
        </p:xfrm>
        <a:graphic>
          <a:graphicData uri="http://schemas.openxmlformats.org/drawingml/2006/table">
            <a:tbl>
              <a:tblPr>
                <a:tableStyleId>{2D5ABB26-0587-4C30-8999-92F81FD0307C}</a:tableStyleId>
              </a:tblPr>
              <a:tblGrid>
                <a:gridCol w="288000">
                  <a:extLst>
                    <a:ext uri="{9D8B030D-6E8A-4147-A177-3AD203B41FA5}">
                      <a16:colId xmlns:a16="http://schemas.microsoft.com/office/drawing/2014/main" val="2354454430"/>
                    </a:ext>
                  </a:extLst>
                </a:gridCol>
                <a:gridCol w="1800000">
                  <a:extLst>
                    <a:ext uri="{9D8B030D-6E8A-4147-A177-3AD203B41FA5}">
                      <a16:colId xmlns:a16="http://schemas.microsoft.com/office/drawing/2014/main" val="2015932734"/>
                    </a:ext>
                  </a:extLst>
                </a:gridCol>
              </a:tblGrid>
              <a:tr h="463630">
                <a:tc>
                  <a:txBody>
                    <a:bodyPr/>
                    <a:lstStyle/>
                    <a:p>
                      <a:pPr algn="r"/>
                      <a:endParaRPr lang="en-US" sz="1200" dirty="0">
                        <a:solidFill>
                          <a:schemeClr val="tx2"/>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chemeClr val="tx1"/>
                          </a:solidFill>
                          <a:effectLst/>
                          <a:uLnTx/>
                          <a:uFillTx/>
                          <a:latin typeface="+mn-lt"/>
                          <a:ea typeface="+mn-ea"/>
                          <a:cs typeface="+mn-cs"/>
                        </a:rPr>
                        <a:t>Vet ikke/kan ikke svare</a:t>
                      </a:r>
                    </a:p>
                  </a:txBody>
                  <a:tcPr marL="36000" marR="36000" marT="0" marB="0" anchor="ctr">
                    <a:noFill/>
                  </a:tcPr>
                </a:tc>
                <a:extLst>
                  <a:ext uri="{0D108BD9-81ED-4DB2-BD59-A6C34878D82A}">
                    <a16:rowId xmlns:a16="http://schemas.microsoft.com/office/drawing/2014/main" val="2428566398"/>
                  </a:ext>
                </a:extLst>
              </a:tr>
              <a:tr h="463630">
                <a:tc>
                  <a:txBody>
                    <a:bodyPr/>
                    <a:lstStyle/>
                    <a:p>
                      <a:pPr algn="r"/>
                      <a:endParaRPr lang="en-US" sz="1200" dirty="0">
                        <a:solidFill>
                          <a:schemeClr val="accent6">
                            <a:lumMod val="40000"/>
                            <a:lumOff val="60000"/>
                          </a:schemeClr>
                        </a:solidFill>
                        <a:latin typeface="+mn-lt"/>
                      </a:endParaRPr>
                    </a:p>
                  </a:txBody>
                  <a:tcPr marL="36000" marR="36000" marT="0" marB="0" anchor="ctr">
                    <a:noFill/>
                  </a:tcPr>
                </a:tc>
                <a:tc>
                  <a:txBody>
                    <a:bodyPr/>
                    <a:lstStyle/>
                    <a:p>
                      <a:r>
                        <a:rPr lang="nb-NO" sz="1200" noProof="0" dirty="0">
                          <a:solidFill>
                            <a:schemeClr val="tx1"/>
                          </a:solidFill>
                          <a:latin typeface="+mn-lt"/>
                        </a:rPr>
                        <a:t>Lav tillit</a:t>
                      </a:r>
                    </a:p>
                  </a:txBody>
                  <a:tcPr marL="36000" marR="36000" marT="0" marB="0" anchor="ctr">
                    <a:noFill/>
                  </a:tcPr>
                </a:tc>
                <a:extLst>
                  <a:ext uri="{0D108BD9-81ED-4DB2-BD59-A6C34878D82A}">
                    <a16:rowId xmlns:a16="http://schemas.microsoft.com/office/drawing/2014/main" val="2426978870"/>
                  </a:ext>
                </a:extLst>
              </a:tr>
              <a:tr h="463630">
                <a:tc>
                  <a:txBody>
                    <a:bodyPr/>
                    <a:lstStyle/>
                    <a:p>
                      <a:pPr algn="r"/>
                      <a:endParaRPr lang="en-US" sz="1200" dirty="0">
                        <a:solidFill>
                          <a:schemeClr val="accent5"/>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chemeClr val="tx1"/>
                          </a:solidFill>
                          <a:effectLst/>
                          <a:uLnTx/>
                          <a:uFillTx/>
                          <a:latin typeface="+mn-lt"/>
                          <a:ea typeface="+mn-ea"/>
                          <a:cs typeface="+mn-cs"/>
                        </a:rPr>
                        <a:t>Middels tillit</a:t>
                      </a:r>
                    </a:p>
                  </a:txBody>
                  <a:tcPr marL="36000" marR="36000" marT="0" marB="0" anchor="ctr">
                    <a:noFill/>
                  </a:tcPr>
                </a:tc>
                <a:extLst>
                  <a:ext uri="{0D108BD9-81ED-4DB2-BD59-A6C34878D82A}">
                    <a16:rowId xmlns:a16="http://schemas.microsoft.com/office/drawing/2014/main" val="15591479"/>
                  </a:ext>
                </a:extLst>
              </a:tr>
              <a:tr h="463630">
                <a:tc>
                  <a:txBody>
                    <a:bodyPr/>
                    <a:lstStyle/>
                    <a:p>
                      <a:pPr algn="r"/>
                      <a:endParaRPr lang="en-US" sz="1200" dirty="0">
                        <a:solidFill>
                          <a:schemeClr val="accent5"/>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chemeClr val="tx1"/>
                          </a:solidFill>
                          <a:effectLst/>
                          <a:uLnTx/>
                          <a:uFillTx/>
                          <a:latin typeface="+mn-lt"/>
                          <a:ea typeface="+mn-ea"/>
                          <a:cs typeface="+mn-cs"/>
                        </a:rPr>
                        <a:t>Høy tillit</a:t>
                      </a:r>
                    </a:p>
                  </a:txBody>
                  <a:tcPr marL="36000" marR="36000" marT="0" marB="0" anchor="ctr">
                    <a:noFill/>
                  </a:tcPr>
                </a:tc>
                <a:extLst>
                  <a:ext uri="{0D108BD9-81ED-4DB2-BD59-A6C34878D82A}">
                    <a16:rowId xmlns:a16="http://schemas.microsoft.com/office/drawing/2014/main" val="1758428676"/>
                  </a:ext>
                </a:extLst>
              </a:tr>
            </a:tbl>
          </a:graphicData>
        </a:graphic>
      </p:graphicFrame>
      <p:sp>
        <p:nvSpPr>
          <p:cNvPr id="9" name="Rectangle 8">
            <a:extLst>
              <a:ext uri="{FF2B5EF4-FFF2-40B4-BE49-F238E27FC236}">
                <a16:creationId xmlns:a16="http://schemas.microsoft.com/office/drawing/2014/main" id="{7A393910-3A44-9F90-E0A7-A70D0E555BE3}"/>
              </a:ext>
            </a:extLst>
          </p:cNvPr>
          <p:cNvSpPr/>
          <p:nvPr/>
        </p:nvSpPr>
        <p:spPr>
          <a:xfrm>
            <a:off x="10066024" y="3276338"/>
            <a:ext cx="115200" cy="114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0" name="Rectangle 9">
            <a:extLst>
              <a:ext uri="{FF2B5EF4-FFF2-40B4-BE49-F238E27FC236}">
                <a16:creationId xmlns:a16="http://schemas.microsoft.com/office/drawing/2014/main" id="{B8466E5A-D44F-13E7-9914-7514BC48C471}"/>
              </a:ext>
            </a:extLst>
          </p:cNvPr>
          <p:cNvSpPr/>
          <p:nvPr/>
        </p:nvSpPr>
        <p:spPr>
          <a:xfrm>
            <a:off x="10066024" y="3755445"/>
            <a:ext cx="115200" cy="1143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1" name="Rectangle 10">
            <a:extLst>
              <a:ext uri="{FF2B5EF4-FFF2-40B4-BE49-F238E27FC236}">
                <a16:creationId xmlns:a16="http://schemas.microsoft.com/office/drawing/2014/main" id="{9868C064-DFD4-1F8B-F1F6-66ECB2FC3BE2}"/>
              </a:ext>
            </a:extLst>
          </p:cNvPr>
          <p:cNvSpPr/>
          <p:nvPr/>
        </p:nvSpPr>
        <p:spPr>
          <a:xfrm>
            <a:off x="10066024" y="4191689"/>
            <a:ext cx="115200" cy="1143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Rectangle 11">
            <a:extLst>
              <a:ext uri="{FF2B5EF4-FFF2-40B4-BE49-F238E27FC236}">
                <a16:creationId xmlns:a16="http://schemas.microsoft.com/office/drawing/2014/main" id="{C68844FE-3EE3-FF12-807C-8FB0216BA0BA}"/>
              </a:ext>
            </a:extLst>
          </p:cNvPr>
          <p:cNvSpPr/>
          <p:nvPr/>
        </p:nvSpPr>
        <p:spPr>
          <a:xfrm>
            <a:off x="10066024" y="4670796"/>
            <a:ext cx="115200" cy="1143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6" name="Picture 8" descr="No photo description available.">
            <a:extLst>
              <a:ext uri="{FF2B5EF4-FFF2-40B4-BE49-F238E27FC236}">
                <a16:creationId xmlns:a16="http://schemas.microsoft.com/office/drawing/2014/main" id="{9B1081CB-21BE-1295-44E3-A2284E73892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28836" y="218894"/>
            <a:ext cx="472420" cy="47242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10E19CFE-994E-60D0-311F-71D409552BAF}"/>
              </a:ext>
            </a:extLst>
          </p:cNvPr>
          <p:cNvCxnSpPr>
            <a:cxnSpLocks/>
          </p:cNvCxnSpPr>
          <p:nvPr/>
        </p:nvCxnSpPr>
        <p:spPr>
          <a:xfrm>
            <a:off x="2934880" y="2126520"/>
            <a:ext cx="0" cy="34864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3CF07C0-32BB-FCFC-C4CC-C10FF4C2D21F}"/>
              </a:ext>
            </a:extLst>
          </p:cNvPr>
          <p:cNvCxnSpPr>
            <a:cxnSpLocks/>
          </p:cNvCxnSpPr>
          <p:nvPr/>
        </p:nvCxnSpPr>
        <p:spPr>
          <a:xfrm>
            <a:off x="5987075" y="2126520"/>
            <a:ext cx="0" cy="34864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5" name="SigEvoPos">
            <a:extLst>
              <a:ext uri="{FF2B5EF4-FFF2-40B4-BE49-F238E27FC236}">
                <a16:creationId xmlns:a16="http://schemas.microsoft.com/office/drawing/2014/main" id="{C4B6E02C-8422-F08E-9D4B-B67863FB50CC}"/>
              </a:ext>
            </a:extLst>
          </p:cNvPr>
          <p:cNvGrpSpPr/>
          <p:nvPr/>
        </p:nvGrpSpPr>
        <p:grpSpPr>
          <a:xfrm>
            <a:off x="1897548" y="5203659"/>
            <a:ext cx="108000" cy="108000"/>
            <a:chOff x="7716328" y="2107098"/>
            <a:chExt cx="216000" cy="216000"/>
          </a:xfrm>
        </p:grpSpPr>
        <p:sp>
          <p:nvSpPr>
            <p:cNvPr id="18" name="Oval 17">
              <a:extLst>
                <a:ext uri="{FF2B5EF4-FFF2-40B4-BE49-F238E27FC236}">
                  <a16:creationId xmlns:a16="http://schemas.microsoft.com/office/drawing/2014/main" id="{23CC8342-A3E3-D6CC-18A9-07D34A858FD4}"/>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19" name="Group 18">
              <a:extLst>
                <a:ext uri="{FF2B5EF4-FFF2-40B4-BE49-F238E27FC236}">
                  <a16:creationId xmlns:a16="http://schemas.microsoft.com/office/drawing/2014/main" id="{91A22F06-DDB4-D539-5B36-E38E59E6CA7F}"/>
                </a:ext>
              </a:extLst>
            </p:cNvPr>
            <p:cNvGrpSpPr>
              <a:grpSpLocks noChangeAspect="1"/>
            </p:cNvGrpSpPr>
            <p:nvPr/>
          </p:nvGrpSpPr>
          <p:grpSpPr>
            <a:xfrm rot="18900000">
              <a:off x="7758327" y="2179098"/>
              <a:ext cx="132003" cy="72000"/>
              <a:chOff x="10144608" y="897887"/>
              <a:chExt cx="326542" cy="178110"/>
            </a:xfrm>
          </p:grpSpPr>
          <p:sp>
            <p:nvSpPr>
              <p:cNvPr id="20" name="Line 34">
                <a:extLst>
                  <a:ext uri="{FF2B5EF4-FFF2-40B4-BE49-F238E27FC236}">
                    <a16:creationId xmlns:a16="http://schemas.microsoft.com/office/drawing/2014/main" id="{BCE6B153-BC85-D39D-0967-AB27410AE263}"/>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 name="Rectangle 11">
                <a:extLst>
                  <a:ext uri="{FF2B5EF4-FFF2-40B4-BE49-F238E27FC236}">
                    <a16:creationId xmlns:a16="http://schemas.microsoft.com/office/drawing/2014/main" id="{BA4AC24A-D525-F1FA-A9DC-9FF18831D44E}"/>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2" name="SigEvoNeg">
            <a:extLst>
              <a:ext uri="{FF2B5EF4-FFF2-40B4-BE49-F238E27FC236}">
                <a16:creationId xmlns:a16="http://schemas.microsoft.com/office/drawing/2014/main" id="{048259C9-ACDA-BA91-A5C0-4A62D0C13E91}"/>
              </a:ext>
            </a:extLst>
          </p:cNvPr>
          <p:cNvGrpSpPr/>
          <p:nvPr/>
        </p:nvGrpSpPr>
        <p:grpSpPr>
          <a:xfrm>
            <a:off x="2650773" y="5329928"/>
            <a:ext cx="108000" cy="108000"/>
            <a:chOff x="8011603" y="2107098"/>
            <a:chExt cx="216000" cy="216000"/>
          </a:xfrm>
        </p:grpSpPr>
        <p:sp>
          <p:nvSpPr>
            <p:cNvPr id="23" name="Oval 22">
              <a:extLst>
                <a:ext uri="{FF2B5EF4-FFF2-40B4-BE49-F238E27FC236}">
                  <a16:creationId xmlns:a16="http://schemas.microsoft.com/office/drawing/2014/main" id="{4125BB79-4AD3-8BA0-B4AF-5C093CD26D73}"/>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4" name="Group 23">
              <a:extLst>
                <a:ext uri="{FF2B5EF4-FFF2-40B4-BE49-F238E27FC236}">
                  <a16:creationId xmlns:a16="http://schemas.microsoft.com/office/drawing/2014/main" id="{55269EF4-B978-4106-DD11-693B6BDDE98A}"/>
                </a:ext>
              </a:extLst>
            </p:cNvPr>
            <p:cNvGrpSpPr>
              <a:grpSpLocks noChangeAspect="1"/>
            </p:cNvGrpSpPr>
            <p:nvPr/>
          </p:nvGrpSpPr>
          <p:grpSpPr>
            <a:xfrm rot="2700000">
              <a:off x="8053602" y="2179098"/>
              <a:ext cx="132003" cy="72000"/>
              <a:chOff x="10144608" y="897887"/>
              <a:chExt cx="326542" cy="178110"/>
            </a:xfrm>
          </p:grpSpPr>
          <p:sp>
            <p:nvSpPr>
              <p:cNvPr id="25" name="Line 34">
                <a:extLst>
                  <a:ext uri="{FF2B5EF4-FFF2-40B4-BE49-F238E27FC236}">
                    <a16:creationId xmlns:a16="http://schemas.microsoft.com/office/drawing/2014/main" id="{BD0649F7-F900-9D17-AF17-C421A55803F6}"/>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Rectangle 11">
                <a:extLst>
                  <a:ext uri="{FF2B5EF4-FFF2-40B4-BE49-F238E27FC236}">
                    <a16:creationId xmlns:a16="http://schemas.microsoft.com/office/drawing/2014/main" id="{CF20422F-16D6-0325-7163-F86D3E5B9E70}"/>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7" name="SigEvoPos">
            <a:extLst>
              <a:ext uri="{FF2B5EF4-FFF2-40B4-BE49-F238E27FC236}">
                <a16:creationId xmlns:a16="http://schemas.microsoft.com/office/drawing/2014/main" id="{892386B4-D5D9-8CE1-97C6-CA9365D46563}"/>
              </a:ext>
            </a:extLst>
          </p:cNvPr>
          <p:cNvGrpSpPr/>
          <p:nvPr/>
        </p:nvGrpSpPr>
        <p:grpSpPr>
          <a:xfrm>
            <a:off x="3423645" y="5171934"/>
            <a:ext cx="108000" cy="108000"/>
            <a:chOff x="7716328" y="2107098"/>
            <a:chExt cx="216000" cy="216000"/>
          </a:xfrm>
        </p:grpSpPr>
        <p:sp>
          <p:nvSpPr>
            <p:cNvPr id="28" name="Oval 27">
              <a:extLst>
                <a:ext uri="{FF2B5EF4-FFF2-40B4-BE49-F238E27FC236}">
                  <a16:creationId xmlns:a16="http://schemas.microsoft.com/office/drawing/2014/main" id="{5521AFE0-112C-526C-271D-F1FC81748FB4}"/>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9" name="Group 28">
              <a:extLst>
                <a:ext uri="{FF2B5EF4-FFF2-40B4-BE49-F238E27FC236}">
                  <a16:creationId xmlns:a16="http://schemas.microsoft.com/office/drawing/2014/main" id="{4A129015-263B-2940-3B1F-DDB5F40B2749}"/>
                </a:ext>
              </a:extLst>
            </p:cNvPr>
            <p:cNvGrpSpPr>
              <a:grpSpLocks noChangeAspect="1"/>
            </p:cNvGrpSpPr>
            <p:nvPr/>
          </p:nvGrpSpPr>
          <p:grpSpPr>
            <a:xfrm rot="18900000">
              <a:off x="7758327" y="2179098"/>
              <a:ext cx="132003" cy="72000"/>
              <a:chOff x="10144608" y="897887"/>
              <a:chExt cx="326542" cy="178110"/>
            </a:xfrm>
          </p:grpSpPr>
          <p:sp>
            <p:nvSpPr>
              <p:cNvPr id="30" name="Line 34">
                <a:extLst>
                  <a:ext uri="{FF2B5EF4-FFF2-40B4-BE49-F238E27FC236}">
                    <a16:creationId xmlns:a16="http://schemas.microsoft.com/office/drawing/2014/main" id="{695C9B7B-5CBB-E814-129F-47FB4B32BBB7}"/>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Rectangle 11">
                <a:extLst>
                  <a:ext uri="{FF2B5EF4-FFF2-40B4-BE49-F238E27FC236}">
                    <a16:creationId xmlns:a16="http://schemas.microsoft.com/office/drawing/2014/main" id="{AC134CB0-998B-148B-E341-EB0CEDA96AA7}"/>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32" name="SigEvoNeg">
            <a:extLst>
              <a:ext uri="{FF2B5EF4-FFF2-40B4-BE49-F238E27FC236}">
                <a16:creationId xmlns:a16="http://schemas.microsoft.com/office/drawing/2014/main" id="{D4866ACC-2BDD-23F7-E87D-9843FD20A227}"/>
              </a:ext>
            </a:extLst>
          </p:cNvPr>
          <p:cNvGrpSpPr/>
          <p:nvPr/>
        </p:nvGrpSpPr>
        <p:grpSpPr>
          <a:xfrm>
            <a:off x="3406763" y="3088695"/>
            <a:ext cx="108000" cy="108000"/>
            <a:chOff x="8011603" y="2107098"/>
            <a:chExt cx="216000" cy="216000"/>
          </a:xfrm>
        </p:grpSpPr>
        <p:sp>
          <p:nvSpPr>
            <p:cNvPr id="33" name="Oval 32">
              <a:extLst>
                <a:ext uri="{FF2B5EF4-FFF2-40B4-BE49-F238E27FC236}">
                  <a16:creationId xmlns:a16="http://schemas.microsoft.com/office/drawing/2014/main" id="{9A2C9E40-2475-B60E-C0FF-4E3595FC231B}"/>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34" name="Group 33">
              <a:extLst>
                <a:ext uri="{FF2B5EF4-FFF2-40B4-BE49-F238E27FC236}">
                  <a16:creationId xmlns:a16="http://schemas.microsoft.com/office/drawing/2014/main" id="{CB28AD2B-F4F6-EFE3-8B73-84448A321CAC}"/>
                </a:ext>
              </a:extLst>
            </p:cNvPr>
            <p:cNvGrpSpPr>
              <a:grpSpLocks noChangeAspect="1"/>
            </p:cNvGrpSpPr>
            <p:nvPr/>
          </p:nvGrpSpPr>
          <p:grpSpPr>
            <a:xfrm rot="2700000">
              <a:off x="8053602" y="2179098"/>
              <a:ext cx="132003" cy="72000"/>
              <a:chOff x="10144608" y="897887"/>
              <a:chExt cx="326542" cy="178110"/>
            </a:xfrm>
          </p:grpSpPr>
          <p:sp>
            <p:nvSpPr>
              <p:cNvPr id="35" name="Line 34">
                <a:extLst>
                  <a:ext uri="{FF2B5EF4-FFF2-40B4-BE49-F238E27FC236}">
                    <a16:creationId xmlns:a16="http://schemas.microsoft.com/office/drawing/2014/main" id="{1AAE6613-F746-2E68-3253-03F57EB51C99}"/>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6" name="Rectangle 11">
                <a:extLst>
                  <a:ext uri="{FF2B5EF4-FFF2-40B4-BE49-F238E27FC236}">
                    <a16:creationId xmlns:a16="http://schemas.microsoft.com/office/drawing/2014/main" id="{009D1683-F828-A46E-EF91-9601D90FC7C5}"/>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62" name="SigEvoPos">
            <a:extLst>
              <a:ext uri="{FF2B5EF4-FFF2-40B4-BE49-F238E27FC236}">
                <a16:creationId xmlns:a16="http://schemas.microsoft.com/office/drawing/2014/main" id="{E4F3E0EC-9FB4-BB8B-DF22-81B52E80BEC0}"/>
              </a:ext>
            </a:extLst>
          </p:cNvPr>
          <p:cNvGrpSpPr/>
          <p:nvPr/>
        </p:nvGrpSpPr>
        <p:grpSpPr>
          <a:xfrm>
            <a:off x="6475680" y="5103601"/>
            <a:ext cx="108000" cy="108000"/>
            <a:chOff x="7716328" y="2107098"/>
            <a:chExt cx="216000" cy="216000"/>
          </a:xfrm>
        </p:grpSpPr>
        <p:sp>
          <p:nvSpPr>
            <p:cNvPr id="63" name="Oval 62">
              <a:extLst>
                <a:ext uri="{FF2B5EF4-FFF2-40B4-BE49-F238E27FC236}">
                  <a16:creationId xmlns:a16="http://schemas.microsoft.com/office/drawing/2014/main" id="{415254FD-6E8F-F25F-E15B-E15A14EE0C57}"/>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64" name="Group 63">
              <a:extLst>
                <a:ext uri="{FF2B5EF4-FFF2-40B4-BE49-F238E27FC236}">
                  <a16:creationId xmlns:a16="http://schemas.microsoft.com/office/drawing/2014/main" id="{FD9F0693-49CA-8C5C-9E4A-C3089508703B}"/>
                </a:ext>
              </a:extLst>
            </p:cNvPr>
            <p:cNvGrpSpPr>
              <a:grpSpLocks noChangeAspect="1"/>
            </p:cNvGrpSpPr>
            <p:nvPr/>
          </p:nvGrpSpPr>
          <p:grpSpPr>
            <a:xfrm rot="18900000">
              <a:off x="7758327" y="2179098"/>
              <a:ext cx="132003" cy="72000"/>
              <a:chOff x="10144608" y="897887"/>
              <a:chExt cx="326542" cy="178110"/>
            </a:xfrm>
          </p:grpSpPr>
          <p:sp>
            <p:nvSpPr>
              <p:cNvPr id="65" name="Line 34">
                <a:extLst>
                  <a:ext uri="{FF2B5EF4-FFF2-40B4-BE49-F238E27FC236}">
                    <a16:creationId xmlns:a16="http://schemas.microsoft.com/office/drawing/2014/main" id="{DD6E90DB-36E9-DF33-8436-AE9F628D32A9}"/>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6" name="Rectangle 11">
                <a:extLst>
                  <a:ext uri="{FF2B5EF4-FFF2-40B4-BE49-F238E27FC236}">
                    <a16:creationId xmlns:a16="http://schemas.microsoft.com/office/drawing/2014/main" id="{DB8D8729-2AD7-7C87-3A6C-C45BA81D4722}"/>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67" name="SigEvoNeg">
            <a:extLst>
              <a:ext uri="{FF2B5EF4-FFF2-40B4-BE49-F238E27FC236}">
                <a16:creationId xmlns:a16="http://schemas.microsoft.com/office/drawing/2014/main" id="{13DDA321-4A52-6D9B-604E-1CF1830573A1}"/>
              </a:ext>
            </a:extLst>
          </p:cNvPr>
          <p:cNvGrpSpPr/>
          <p:nvPr/>
        </p:nvGrpSpPr>
        <p:grpSpPr>
          <a:xfrm>
            <a:off x="6467187" y="3079085"/>
            <a:ext cx="108000" cy="108000"/>
            <a:chOff x="8011603" y="2107098"/>
            <a:chExt cx="216000" cy="216000"/>
          </a:xfrm>
        </p:grpSpPr>
        <p:sp>
          <p:nvSpPr>
            <p:cNvPr id="68" name="Oval 67">
              <a:extLst>
                <a:ext uri="{FF2B5EF4-FFF2-40B4-BE49-F238E27FC236}">
                  <a16:creationId xmlns:a16="http://schemas.microsoft.com/office/drawing/2014/main" id="{8526E178-6965-30E8-0277-C2694B37FD5B}"/>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69" name="Group 68">
              <a:extLst>
                <a:ext uri="{FF2B5EF4-FFF2-40B4-BE49-F238E27FC236}">
                  <a16:creationId xmlns:a16="http://schemas.microsoft.com/office/drawing/2014/main" id="{7778C7DC-CBEC-B26E-6FD6-F6DE7B8D6A11}"/>
                </a:ext>
              </a:extLst>
            </p:cNvPr>
            <p:cNvGrpSpPr>
              <a:grpSpLocks noChangeAspect="1"/>
            </p:cNvGrpSpPr>
            <p:nvPr/>
          </p:nvGrpSpPr>
          <p:grpSpPr>
            <a:xfrm rot="2700000">
              <a:off x="8053602" y="2179098"/>
              <a:ext cx="132003" cy="72000"/>
              <a:chOff x="10144608" y="897887"/>
              <a:chExt cx="326542" cy="178110"/>
            </a:xfrm>
          </p:grpSpPr>
          <p:sp>
            <p:nvSpPr>
              <p:cNvPr id="70" name="Line 34">
                <a:extLst>
                  <a:ext uri="{FF2B5EF4-FFF2-40B4-BE49-F238E27FC236}">
                    <a16:creationId xmlns:a16="http://schemas.microsoft.com/office/drawing/2014/main" id="{F81BF7CE-32D5-6FCD-921C-B6D4E0F3AA67}"/>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1" name="Rectangle 11">
                <a:extLst>
                  <a:ext uri="{FF2B5EF4-FFF2-40B4-BE49-F238E27FC236}">
                    <a16:creationId xmlns:a16="http://schemas.microsoft.com/office/drawing/2014/main" id="{146C9701-B738-A608-776D-FB99B34F841C}"/>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spTree>
    <p:extLst>
      <p:ext uri="{BB962C8B-B14F-4D97-AF65-F5344CB8AC3E}">
        <p14:creationId xmlns:p14="http://schemas.microsoft.com/office/powerpoint/2010/main" val="85900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4704F41F-6C16-4EED-9C68-25CA0E2FE2BB}"/>
              </a:ext>
            </a:extLst>
          </p:cNvPr>
          <p:cNvSpPr>
            <a:spLocks noGrp="1"/>
          </p:cNvSpPr>
          <p:nvPr>
            <p:ph type="sldNum" sz="quarter" idx="18"/>
          </p:nvPr>
        </p:nvSpPr>
        <p:spPr/>
        <p:txBody>
          <a:bodyPr/>
          <a:lstStyle/>
          <a:p>
            <a:fld id="{D61AABEC-672F-4B68-B914-690DA978312C}" type="slidenum">
              <a:rPr lang="nb-NO" smtClean="0"/>
              <a:pPr/>
              <a:t>9</a:t>
            </a:fld>
            <a:r>
              <a:rPr lang="nb-NO" dirty="0"/>
              <a:t> </a:t>
            </a:r>
          </a:p>
        </p:txBody>
      </p:sp>
      <p:sp>
        <p:nvSpPr>
          <p:cNvPr id="5" name="Plassholder for tekst 4">
            <a:extLst>
              <a:ext uri="{FF2B5EF4-FFF2-40B4-BE49-F238E27FC236}">
                <a16:creationId xmlns:a16="http://schemas.microsoft.com/office/drawing/2014/main" id="{A999A219-7114-4451-ACCA-FC2BE3484064}"/>
              </a:ext>
            </a:extLst>
          </p:cNvPr>
          <p:cNvSpPr>
            <a:spLocks noGrp="1"/>
          </p:cNvSpPr>
          <p:nvPr>
            <p:ph type="body" sz="quarter" idx="19"/>
          </p:nvPr>
        </p:nvSpPr>
        <p:spPr>
          <a:xfrm>
            <a:off x="407988" y="650687"/>
            <a:ext cx="10130703" cy="349702"/>
          </a:xfrm>
        </p:spPr>
        <p:txBody>
          <a:bodyPr/>
          <a:lstStyle/>
          <a:p>
            <a:r>
              <a:rPr lang="nb-NO" sz="2000" b="1" dirty="0"/>
              <a:t>Av de som har vært involvert som en forelder i en foreldretvist eller barnevernssak er det flest 30-39 åringer og de som er bosatt i Oslo. </a:t>
            </a:r>
          </a:p>
        </p:txBody>
      </p:sp>
      <p:sp>
        <p:nvSpPr>
          <p:cNvPr id="14" name="Text Box 5">
            <a:extLst>
              <a:ext uri="{FF2B5EF4-FFF2-40B4-BE49-F238E27FC236}">
                <a16:creationId xmlns:a16="http://schemas.microsoft.com/office/drawing/2014/main" id="{868F37A9-8055-4848-9859-98082BA04E6B}"/>
              </a:ext>
            </a:extLst>
          </p:cNvPr>
          <p:cNvSpPr txBox="1">
            <a:spLocks noChangeArrowheads="1"/>
          </p:cNvSpPr>
          <p:nvPr/>
        </p:nvSpPr>
        <p:spPr bwMode="auto">
          <a:xfrm>
            <a:off x="929620" y="6222085"/>
            <a:ext cx="9850233" cy="373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lnSpc>
                <a:spcPct val="90000"/>
              </a:lnSpc>
              <a:spcBef>
                <a:spcPct val="0"/>
              </a:spcBef>
              <a:spcAft>
                <a:spcPct val="0"/>
              </a:spcAft>
            </a:pPr>
            <a:r>
              <a:rPr lang="nb-NO" sz="900" dirty="0">
                <a:solidFill>
                  <a:schemeClr val="bg1">
                    <a:lumMod val="50000"/>
                  </a:schemeClr>
                </a:solidFill>
              </a:rPr>
              <a:t>Q:f2f4. Har du vært involvert eller part i en foreldretvist/barnefordelingssak eller barnevernssak i rettssystemet?</a:t>
            </a:r>
            <a:br>
              <a:rPr lang="nb-NO" sz="900" dirty="0">
                <a:solidFill>
                  <a:schemeClr val="bg1">
                    <a:lumMod val="50000"/>
                  </a:schemeClr>
                </a:solidFill>
              </a:rPr>
            </a:br>
            <a:r>
              <a:rPr lang="nb-NO" sz="900" dirty="0">
                <a:solidFill>
                  <a:schemeClr val="bg1">
                    <a:lumMod val="50000"/>
                  </a:schemeClr>
                </a:solidFill>
              </a:rPr>
              <a:t>// Base: Total N=1087, Mann n=535, Kvinne n=552, 18-29 år n=215, 30-39 år n=187, 40-59 år n=380, 60 år+ n=305, Oslo n=170, Østlandet ellers n=405, Vestlandet n=272, Midt Norge n=136, Nord Norge n=104</a:t>
            </a:r>
            <a:endParaRPr lang="nb-NO" sz="1100" dirty="0">
              <a:solidFill>
                <a:schemeClr val="bg1">
                  <a:lumMod val="50000"/>
                </a:schemeClr>
              </a:solidFill>
              <a:cs typeface="Arial" pitchFamily="34" charset="0"/>
            </a:endParaRPr>
          </a:p>
        </p:txBody>
      </p:sp>
      <p:sp>
        <p:nvSpPr>
          <p:cNvPr id="17" name="TextBox 16">
            <a:extLst>
              <a:ext uri="{FF2B5EF4-FFF2-40B4-BE49-F238E27FC236}">
                <a16:creationId xmlns:a16="http://schemas.microsoft.com/office/drawing/2014/main" id="{0C93B72C-BC2A-5766-D266-7DB565A7FA41}"/>
              </a:ext>
            </a:extLst>
          </p:cNvPr>
          <p:cNvSpPr txBox="1"/>
          <p:nvPr/>
        </p:nvSpPr>
        <p:spPr>
          <a:xfrm>
            <a:off x="2095500" y="1395417"/>
            <a:ext cx="8443191" cy="430887"/>
          </a:xfrm>
          <a:prstGeom prst="rect">
            <a:avLst/>
          </a:prstGeom>
        </p:spPr>
        <p:txBody>
          <a:bodyPr vert="horz" wrap="square" lIns="0" tIns="0" rIns="0" bIns="0" rtlCol="0">
            <a:spAutoFit/>
          </a:bodyPr>
          <a:lstStyle/>
          <a:p>
            <a:pPr algn="ctr"/>
            <a:r>
              <a:rPr lang="nb-NO" sz="1400" b="1" dirty="0">
                <a:solidFill>
                  <a:schemeClr val="tx1">
                    <a:lumMod val="90000"/>
                    <a:lumOff val="10000"/>
                  </a:schemeClr>
                </a:solidFill>
                <a:latin typeface="+mj-lt"/>
              </a:rPr>
              <a:t>HAR DU VÆRT INVOLVERT I EN FORELDRETVIST/BARNEFORDELINGSSAK ELLER BARNEVERNSSAK I RETTSSYSTEMET? </a:t>
            </a:r>
          </a:p>
        </p:txBody>
      </p:sp>
      <p:pic>
        <p:nvPicPr>
          <p:cNvPr id="13" name="Picture 8" descr="No photo description available.">
            <a:extLst>
              <a:ext uri="{FF2B5EF4-FFF2-40B4-BE49-F238E27FC236}">
                <a16:creationId xmlns:a16="http://schemas.microsoft.com/office/drawing/2014/main" id="{6B701E04-706D-F7D8-AA8F-C4F93F43019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28836" y="218894"/>
            <a:ext cx="472420" cy="4724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Chart 14">
            <a:extLst>
              <a:ext uri="{FF2B5EF4-FFF2-40B4-BE49-F238E27FC236}">
                <a16:creationId xmlns:a16="http://schemas.microsoft.com/office/drawing/2014/main" id="{5D4DE303-E3AE-22F2-92ED-F7183887902B}"/>
              </a:ext>
            </a:extLst>
          </p:cNvPr>
          <p:cNvGraphicFramePr/>
          <p:nvPr>
            <p:extLst>
              <p:ext uri="{D42A27DB-BD31-4B8C-83A1-F6EECF244321}">
                <p14:modId xmlns:p14="http://schemas.microsoft.com/office/powerpoint/2010/main" val="3305224878"/>
              </p:ext>
            </p:extLst>
          </p:nvPr>
        </p:nvGraphicFramePr>
        <p:xfrm>
          <a:off x="929621" y="2534473"/>
          <a:ext cx="10138432" cy="33886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Table 15">
            <a:extLst>
              <a:ext uri="{FF2B5EF4-FFF2-40B4-BE49-F238E27FC236}">
                <a16:creationId xmlns:a16="http://schemas.microsoft.com/office/drawing/2014/main" id="{A04E9453-E02C-4672-7E8C-713A24C62448}"/>
              </a:ext>
            </a:extLst>
          </p:cNvPr>
          <p:cNvGraphicFramePr>
            <a:graphicFrameLocks noGrp="1"/>
          </p:cNvGraphicFramePr>
          <p:nvPr/>
        </p:nvGraphicFramePr>
        <p:xfrm>
          <a:off x="1098779" y="1980900"/>
          <a:ext cx="9806910" cy="648000"/>
        </p:xfrm>
        <a:graphic>
          <a:graphicData uri="http://schemas.openxmlformats.org/drawingml/2006/table">
            <a:tbl>
              <a:tblPr firstRow="1" bandRow="1">
                <a:tableStyleId>{2D5ABB26-0587-4C30-8999-92F81FD0307C}</a:tableStyleId>
              </a:tblPr>
              <a:tblGrid>
                <a:gridCol w="980691">
                  <a:extLst>
                    <a:ext uri="{9D8B030D-6E8A-4147-A177-3AD203B41FA5}">
                      <a16:colId xmlns:a16="http://schemas.microsoft.com/office/drawing/2014/main" val="2820400169"/>
                    </a:ext>
                  </a:extLst>
                </a:gridCol>
                <a:gridCol w="980691">
                  <a:extLst>
                    <a:ext uri="{9D8B030D-6E8A-4147-A177-3AD203B41FA5}">
                      <a16:colId xmlns:a16="http://schemas.microsoft.com/office/drawing/2014/main" val="1761496849"/>
                    </a:ext>
                  </a:extLst>
                </a:gridCol>
                <a:gridCol w="980691">
                  <a:extLst>
                    <a:ext uri="{9D8B030D-6E8A-4147-A177-3AD203B41FA5}">
                      <a16:colId xmlns:a16="http://schemas.microsoft.com/office/drawing/2014/main" val="3306985449"/>
                    </a:ext>
                  </a:extLst>
                </a:gridCol>
                <a:gridCol w="980691">
                  <a:extLst>
                    <a:ext uri="{9D8B030D-6E8A-4147-A177-3AD203B41FA5}">
                      <a16:colId xmlns:a16="http://schemas.microsoft.com/office/drawing/2014/main" val="3746500753"/>
                    </a:ext>
                  </a:extLst>
                </a:gridCol>
                <a:gridCol w="980691">
                  <a:extLst>
                    <a:ext uri="{9D8B030D-6E8A-4147-A177-3AD203B41FA5}">
                      <a16:colId xmlns:a16="http://schemas.microsoft.com/office/drawing/2014/main" val="4240415394"/>
                    </a:ext>
                  </a:extLst>
                </a:gridCol>
                <a:gridCol w="980691">
                  <a:extLst>
                    <a:ext uri="{9D8B030D-6E8A-4147-A177-3AD203B41FA5}">
                      <a16:colId xmlns:a16="http://schemas.microsoft.com/office/drawing/2014/main" val="2950318557"/>
                    </a:ext>
                  </a:extLst>
                </a:gridCol>
                <a:gridCol w="980691">
                  <a:extLst>
                    <a:ext uri="{9D8B030D-6E8A-4147-A177-3AD203B41FA5}">
                      <a16:colId xmlns:a16="http://schemas.microsoft.com/office/drawing/2014/main" val="520112621"/>
                    </a:ext>
                  </a:extLst>
                </a:gridCol>
                <a:gridCol w="980691">
                  <a:extLst>
                    <a:ext uri="{9D8B030D-6E8A-4147-A177-3AD203B41FA5}">
                      <a16:colId xmlns:a16="http://schemas.microsoft.com/office/drawing/2014/main" val="4256081466"/>
                    </a:ext>
                  </a:extLst>
                </a:gridCol>
                <a:gridCol w="980691">
                  <a:extLst>
                    <a:ext uri="{9D8B030D-6E8A-4147-A177-3AD203B41FA5}">
                      <a16:colId xmlns:a16="http://schemas.microsoft.com/office/drawing/2014/main" val="2807574116"/>
                    </a:ext>
                  </a:extLst>
                </a:gridCol>
                <a:gridCol w="980691">
                  <a:extLst>
                    <a:ext uri="{9D8B030D-6E8A-4147-A177-3AD203B41FA5}">
                      <a16:colId xmlns:a16="http://schemas.microsoft.com/office/drawing/2014/main" val="3508742127"/>
                    </a:ext>
                  </a:extLst>
                </a:gridCol>
              </a:tblGrid>
              <a:tr h="288000">
                <a:tc>
                  <a:txBody>
                    <a:bodyPr/>
                    <a:lstStyle/>
                    <a:p>
                      <a:pPr marL="0" algn="ctr" defTabSz="914400" rtl="0" eaLnBrk="1" latinLnBrk="0" hangingPunct="1"/>
                      <a:r>
                        <a:rPr lang="en-US" sz="1200" b="0" kern="1200" dirty="0">
                          <a:solidFill>
                            <a:schemeClr val="bg1"/>
                          </a:solidFill>
                          <a:latin typeface="+mj-lt"/>
                          <a:ea typeface="+mn-ea"/>
                          <a:cs typeface="+mn-cs"/>
                        </a:rPr>
                        <a:t>TOTAL</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marL="0" algn="ctr" defTabSz="914400" rtl="0" eaLnBrk="1" latinLnBrk="0" hangingPunct="1"/>
                      <a:r>
                        <a:rPr lang="en-US" sz="1200" b="0" kern="1200" dirty="0">
                          <a:solidFill>
                            <a:schemeClr val="bg1"/>
                          </a:solidFill>
                          <a:latin typeface="+mj-lt"/>
                          <a:ea typeface="+mn-ea"/>
                          <a:cs typeface="+mn-cs"/>
                        </a:rPr>
                        <a:t>ALDER</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5">
                  <a:txBody>
                    <a:bodyPr/>
                    <a:lstStyle/>
                    <a:p>
                      <a:pPr marL="0" algn="ctr" defTabSz="914400" rtl="0" eaLnBrk="1" latinLnBrk="0" hangingPunct="1"/>
                      <a:r>
                        <a:rPr lang="en-US" sz="1200" b="0" kern="1200" dirty="0">
                          <a:solidFill>
                            <a:schemeClr val="bg1"/>
                          </a:solidFill>
                          <a:latin typeface="+mj-lt"/>
                          <a:ea typeface="+mn-ea"/>
                          <a:cs typeface="+mn-cs"/>
                        </a:rPr>
                        <a:t>LANDSDEL</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ctr" defTabSz="914400" rtl="0" eaLnBrk="1" latinLnBrk="0" hangingPunct="1"/>
                      <a:endParaRPr lang="en-US" sz="1200" b="0" kern="1200" dirty="0">
                        <a:solidFill>
                          <a:schemeClr val="bg1"/>
                        </a:solidFill>
                        <a:latin typeface="+mj-lt"/>
                        <a:ea typeface="+mn-ea"/>
                        <a:cs typeface="+mn-cs"/>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360000">
                <a:tc>
                  <a:txBody>
                    <a:bodyPr/>
                    <a:lstStyle/>
                    <a:p>
                      <a:pPr algn="ctr"/>
                      <a:endParaRPr lang="en-US" sz="1400" b="1" dirty="0">
                        <a:solidFill>
                          <a:schemeClr val="tx1">
                            <a:lumMod val="75000"/>
                            <a:lumOff val="25000"/>
                          </a:schemeClr>
                        </a:solidFill>
                        <a:latin typeface="+mn-lt"/>
                      </a:endParaRP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chemeClr val="tx1">
                              <a:lumMod val="75000"/>
                              <a:lumOff val="25000"/>
                            </a:schemeClr>
                          </a:solidFill>
                          <a:latin typeface="+mn-lt"/>
                        </a:rPr>
                        <a:t>18-29</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chemeClr val="tx1">
                              <a:lumMod val="75000"/>
                              <a:lumOff val="25000"/>
                            </a:schemeClr>
                          </a:solidFill>
                          <a:latin typeface="+mn-lt"/>
                        </a:rPr>
                        <a:t>30-39</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chemeClr val="tx1">
                              <a:lumMod val="75000"/>
                              <a:lumOff val="25000"/>
                            </a:schemeClr>
                          </a:solidFill>
                          <a:latin typeface="+mn-lt"/>
                        </a:rPr>
                        <a:t>40-59</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a:solidFill>
                            <a:schemeClr val="tx1">
                              <a:lumMod val="75000"/>
                              <a:lumOff val="25000"/>
                            </a:schemeClr>
                          </a:solidFill>
                          <a:latin typeface="+mn-lt"/>
                        </a:rPr>
                        <a:t>60+</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Oslo</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Østlandet ellers</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Vestlandet</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Midt </a:t>
                      </a:r>
                      <a:br>
                        <a:rPr lang="nb-NO" sz="1050" b="1" noProof="0" dirty="0">
                          <a:solidFill>
                            <a:schemeClr val="tx1">
                              <a:lumMod val="75000"/>
                              <a:lumOff val="25000"/>
                            </a:schemeClr>
                          </a:solidFill>
                          <a:latin typeface="+mn-lt"/>
                        </a:rPr>
                      </a:br>
                      <a:r>
                        <a:rPr lang="nb-NO" sz="1050" b="1" noProof="0" dirty="0">
                          <a:solidFill>
                            <a:schemeClr val="tx1">
                              <a:lumMod val="75000"/>
                              <a:lumOff val="25000"/>
                            </a:schemeClr>
                          </a:solidFill>
                          <a:latin typeface="+mn-lt"/>
                        </a:rPr>
                        <a:t>Norge</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nb-NO" sz="1050" b="1" noProof="0" dirty="0">
                          <a:solidFill>
                            <a:schemeClr val="tx1">
                              <a:lumMod val="75000"/>
                              <a:lumOff val="25000"/>
                            </a:schemeClr>
                          </a:solidFill>
                          <a:latin typeface="+mn-lt"/>
                        </a:rPr>
                        <a:t>Nord </a:t>
                      </a:r>
                      <a:br>
                        <a:rPr lang="nb-NO" sz="1050" b="1" noProof="0" dirty="0">
                          <a:solidFill>
                            <a:schemeClr val="tx1">
                              <a:lumMod val="75000"/>
                              <a:lumOff val="25000"/>
                            </a:schemeClr>
                          </a:solidFill>
                          <a:latin typeface="+mn-lt"/>
                        </a:rPr>
                      </a:br>
                      <a:r>
                        <a:rPr lang="nb-NO" sz="1050" b="1" noProof="0" dirty="0">
                          <a:solidFill>
                            <a:schemeClr val="tx1">
                              <a:lumMod val="75000"/>
                              <a:lumOff val="25000"/>
                            </a:schemeClr>
                          </a:solidFill>
                          <a:latin typeface="+mn-lt"/>
                        </a:rPr>
                        <a:t>Norge</a:t>
                      </a:r>
                    </a:p>
                  </a:txBody>
                  <a:tcPr marL="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bl>
          </a:graphicData>
        </a:graphic>
      </p:graphicFrame>
      <p:cxnSp>
        <p:nvCxnSpPr>
          <p:cNvPr id="18" name="Straight Connector 17">
            <a:extLst>
              <a:ext uri="{FF2B5EF4-FFF2-40B4-BE49-F238E27FC236}">
                <a16:creationId xmlns:a16="http://schemas.microsoft.com/office/drawing/2014/main" id="{81B0F3D3-327B-BCB3-2638-0A70E7E59296}"/>
              </a:ext>
            </a:extLst>
          </p:cNvPr>
          <p:cNvCxnSpPr>
            <a:cxnSpLocks/>
          </p:cNvCxnSpPr>
          <p:nvPr/>
        </p:nvCxnSpPr>
        <p:spPr>
          <a:xfrm>
            <a:off x="2074484" y="2014456"/>
            <a:ext cx="0" cy="32578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330007AF-694D-5043-6482-2F2D188AA3C4}"/>
              </a:ext>
            </a:extLst>
          </p:cNvPr>
          <p:cNvCxnSpPr>
            <a:cxnSpLocks/>
          </p:cNvCxnSpPr>
          <p:nvPr/>
        </p:nvCxnSpPr>
        <p:spPr>
          <a:xfrm>
            <a:off x="6001929" y="2039623"/>
            <a:ext cx="0" cy="325785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 name="SigEvoPos">
            <a:extLst>
              <a:ext uri="{FF2B5EF4-FFF2-40B4-BE49-F238E27FC236}">
                <a16:creationId xmlns:a16="http://schemas.microsoft.com/office/drawing/2014/main" id="{A88AC434-3113-E673-CD95-67B6DD7C4050}"/>
              </a:ext>
            </a:extLst>
          </p:cNvPr>
          <p:cNvGrpSpPr/>
          <p:nvPr/>
        </p:nvGrpSpPr>
        <p:grpSpPr>
          <a:xfrm>
            <a:off x="2511473" y="4311304"/>
            <a:ext cx="108000" cy="108000"/>
            <a:chOff x="7716328" y="2107098"/>
            <a:chExt cx="216000" cy="216000"/>
          </a:xfrm>
        </p:grpSpPr>
        <p:sp>
          <p:nvSpPr>
            <p:cNvPr id="9" name="Oval 8">
              <a:extLst>
                <a:ext uri="{FF2B5EF4-FFF2-40B4-BE49-F238E27FC236}">
                  <a16:creationId xmlns:a16="http://schemas.microsoft.com/office/drawing/2014/main" id="{AB13E279-D36A-65C5-958E-6A150A4B3BD9}"/>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10" name="Group 9">
              <a:extLst>
                <a:ext uri="{FF2B5EF4-FFF2-40B4-BE49-F238E27FC236}">
                  <a16:creationId xmlns:a16="http://schemas.microsoft.com/office/drawing/2014/main" id="{4278E89C-6C5E-D7F9-72E2-E3980D848297}"/>
                </a:ext>
              </a:extLst>
            </p:cNvPr>
            <p:cNvGrpSpPr>
              <a:grpSpLocks noChangeAspect="1"/>
            </p:cNvGrpSpPr>
            <p:nvPr/>
          </p:nvGrpSpPr>
          <p:grpSpPr>
            <a:xfrm rot="18900000">
              <a:off x="7758327" y="2179098"/>
              <a:ext cx="132003" cy="72000"/>
              <a:chOff x="10144608" y="897887"/>
              <a:chExt cx="326542" cy="178110"/>
            </a:xfrm>
          </p:grpSpPr>
          <p:sp>
            <p:nvSpPr>
              <p:cNvPr id="11" name="Line 34">
                <a:extLst>
                  <a:ext uri="{FF2B5EF4-FFF2-40B4-BE49-F238E27FC236}">
                    <a16:creationId xmlns:a16="http://schemas.microsoft.com/office/drawing/2014/main" id="{2E330D07-00E7-735D-4ECF-582DF2889054}"/>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F723BCA6-8137-69C4-8135-96B5D919EECC}"/>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19" name="SigEvoNeg">
            <a:extLst>
              <a:ext uri="{FF2B5EF4-FFF2-40B4-BE49-F238E27FC236}">
                <a16:creationId xmlns:a16="http://schemas.microsoft.com/office/drawing/2014/main" id="{9BC95853-06A1-D94E-E9ED-2C160199E834}"/>
              </a:ext>
            </a:extLst>
          </p:cNvPr>
          <p:cNvGrpSpPr/>
          <p:nvPr/>
        </p:nvGrpSpPr>
        <p:grpSpPr>
          <a:xfrm>
            <a:off x="2712705" y="3279055"/>
            <a:ext cx="108000" cy="108000"/>
            <a:chOff x="8011603" y="2107098"/>
            <a:chExt cx="216000" cy="216000"/>
          </a:xfrm>
        </p:grpSpPr>
        <p:sp>
          <p:nvSpPr>
            <p:cNvPr id="20" name="Oval 19">
              <a:extLst>
                <a:ext uri="{FF2B5EF4-FFF2-40B4-BE49-F238E27FC236}">
                  <a16:creationId xmlns:a16="http://schemas.microsoft.com/office/drawing/2014/main" id="{7430A49A-3069-9421-417F-BCF428A47AA2}"/>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2" name="Group 21">
              <a:extLst>
                <a:ext uri="{FF2B5EF4-FFF2-40B4-BE49-F238E27FC236}">
                  <a16:creationId xmlns:a16="http://schemas.microsoft.com/office/drawing/2014/main" id="{6C5248A0-70E8-C339-7388-B79009AB6723}"/>
                </a:ext>
              </a:extLst>
            </p:cNvPr>
            <p:cNvGrpSpPr>
              <a:grpSpLocks noChangeAspect="1"/>
            </p:cNvGrpSpPr>
            <p:nvPr/>
          </p:nvGrpSpPr>
          <p:grpSpPr>
            <a:xfrm rot="2700000">
              <a:off x="8053602" y="2179098"/>
              <a:ext cx="132003" cy="72000"/>
              <a:chOff x="10144608" y="897887"/>
              <a:chExt cx="326542" cy="178110"/>
            </a:xfrm>
          </p:grpSpPr>
          <p:sp>
            <p:nvSpPr>
              <p:cNvPr id="23" name="Line 34">
                <a:extLst>
                  <a:ext uri="{FF2B5EF4-FFF2-40B4-BE49-F238E27FC236}">
                    <a16:creationId xmlns:a16="http://schemas.microsoft.com/office/drawing/2014/main" id="{4A21E88D-A3E8-90AD-84C1-5DFA07E9FA95}"/>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Rectangle 11">
                <a:extLst>
                  <a:ext uri="{FF2B5EF4-FFF2-40B4-BE49-F238E27FC236}">
                    <a16:creationId xmlns:a16="http://schemas.microsoft.com/office/drawing/2014/main" id="{1C1EAB58-D55A-083D-9D57-413061B097BE}"/>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5" name="SigEvoNeg">
            <a:extLst>
              <a:ext uri="{FF2B5EF4-FFF2-40B4-BE49-F238E27FC236}">
                <a16:creationId xmlns:a16="http://schemas.microsoft.com/office/drawing/2014/main" id="{68787FF3-7BB2-2C3E-17F1-ECFE68A7A3DE}"/>
              </a:ext>
            </a:extLst>
          </p:cNvPr>
          <p:cNvGrpSpPr/>
          <p:nvPr/>
        </p:nvGrpSpPr>
        <p:grpSpPr>
          <a:xfrm>
            <a:off x="3687226" y="3140146"/>
            <a:ext cx="108000" cy="108000"/>
            <a:chOff x="8011603" y="2107098"/>
            <a:chExt cx="216000" cy="216000"/>
          </a:xfrm>
        </p:grpSpPr>
        <p:sp>
          <p:nvSpPr>
            <p:cNvPr id="26" name="Oval 25">
              <a:extLst>
                <a:ext uri="{FF2B5EF4-FFF2-40B4-BE49-F238E27FC236}">
                  <a16:creationId xmlns:a16="http://schemas.microsoft.com/office/drawing/2014/main" id="{A3050788-B3B5-2623-DF18-A955E5A31C2B}"/>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7" name="Group 26">
              <a:extLst>
                <a:ext uri="{FF2B5EF4-FFF2-40B4-BE49-F238E27FC236}">
                  <a16:creationId xmlns:a16="http://schemas.microsoft.com/office/drawing/2014/main" id="{E856361B-3EAA-9773-DAEE-BC39E56F1F79}"/>
                </a:ext>
              </a:extLst>
            </p:cNvPr>
            <p:cNvGrpSpPr>
              <a:grpSpLocks noChangeAspect="1"/>
            </p:cNvGrpSpPr>
            <p:nvPr/>
          </p:nvGrpSpPr>
          <p:grpSpPr>
            <a:xfrm rot="2700000">
              <a:off x="8053602" y="2179098"/>
              <a:ext cx="132003" cy="72000"/>
              <a:chOff x="10144608" y="897887"/>
              <a:chExt cx="326542" cy="178110"/>
            </a:xfrm>
          </p:grpSpPr>
          <p:sp>
            <p:nvSpPr>
              <p:cNvPr id="28" name="Line 34">
                <a:extLst>
                  <a:ext uri="{FF2B5EF4-FFF2-40B4-BE49-F238E27FC236}">
                    <a16:creationId xmlns:a16="http://schemas.microsoft.com/office/drawing/2014/main" id="{67B32A21-8259-DEEB-14FC-ADBA3D48A325}"/>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9" name="Rectangle 11">
                <a:extLst>
                  <a:ext uri="{FF2B5EF4-FFF2-40B4-BE49-F238E27FC236}">
                    <a16:creationId xmlns:a16="http://schemas.microsoft.com/office/drawing/2014/main" id="{F04EA545-4DC3-1A52-B7D8-0FDAAF51A412}"/>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30" name="SigEvoPos">
            <a:extLst>
              <a:ext uri="{FF2B5EF4-FFF2-40B4-BE49-F238E27FC236}">
                <a16:creationId xmlns:a16="http://schemas.microsoft.com/office/drawing/2014/main" id="{38F007E3-4AC1-BC54-6C30-FBC3C76DF1F6}"/>
              </a:ext>
            </a:extLst>
          </p:cNvPr>
          <p:cNvGrpSpPr/>
          <p:nvPr/>
        </p:nvGrpSpPr>
        <p:grpSpPr>
          <a:xfrm>
            <a:off x="3281132" y="4564372"/>
            <a:ext cx="108000" cy="108000"/>
            <a:chOff x="7716328" y="2107098"/>
            <a:chExt cx="216000" cy="216000"/>
          </a:xfrm>
        </p:grpSpPr>
        <p:sp>
          <p:nvSpPr>
            <p:cNvPr id="31" name="Oval 30">
              <a:extLst>
                <a:ext uri="{FF2B5EF4-FFF2-40B4-BE49-F238E27FC236}">
                  <a16:creationId xmlns:a16="http://schemas.microsoft.com/office/drawing/2014/main" id="{C5A60ABF-2175-867B-7A07-24E12C45D84D}"/>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32" name="Group 31">
              <a:extLst>
                <a:ext uri="{FF2B5EF4-FFF2-40B4-BE49-F238E27FC236}">
                  <a16:creationId xmlns:a16="http://schemas.microsoft.com/office/drawing/2014/main" id="{3C3567F1-D8C9-B2F4-EAB8-66A213F4D8E2}"/>
                </a:ext>
              </a:extLst>
            </p:cNvPr>
            <p:cNvGrpSpPr>
              <a:grpSpLocks noChangeAspect="1"/>
            </p:cNvGrpSpPr>
            <p:nvPr/>
          </p:nvGrpSpPr>
          <p:grpSpPr>
            <a:xfrm rot="18900000">
              <a:off x="7758327" y="2179098"/>
              <a:ext cx="132003" cy="72000"/>
              <a:chOff x="10144608" y="897887"/>
              <a:chExt cx="326542" cy="178110"/>
            </a:xfrm>
          </p:grpSpPr>
          <p:sp>
            <p:nvSpPr>
              <p:cNvPr id="33" name="Line 34">
                <a:extLst>
                  <a:ext uri="{FF2B5EF4-FFF2-40B4-BE49-F238E27FC236}">
                    <a16:creationId xmlns:a16="http://schemas.microsoft.com/office/drawing/2014/main" id="{52F7F7D4-0A1A-31B1-6C07-4A48EE66D410}"/>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4" name="Rectangle 11">
                <a:extLst>
                  <a:ext uri="{FF2B5EF4-FFF2-40B4-BE49-F238E27FC236}">
                    <a16:creationId xmlns:a16="http://schemas.microsoft.com/office/drawing/2014/main" id="{1B1CBA04-D138-EBEC-06AD-5034F3102A63}"/>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35" name="SigEvoPos">
            <a:extLst>
              <a:ext uri="{FF2B5EF4-FFF2-40B4-BE49-F238E27FC236}">
                <a16:creationId xmlns:a16="http://schemas.microsoft.com/office/drawing/2014/main" id="{EB8BF84D-D4C2-4F6A-2B1D-26C886729709}"/>
              </a:ext>
            </a:extLst>
          </p:cNvPr>
          <p:cNvGrpSpPr/>
          <p:nvPr/>
        </p:nvGrpSpPr>
        <p:grpSpPr>
          <a:xfrm>
            <a:off x="5639837" y="2640429"/>
            <a:ext cx="108000" cy="108000"/>
            <a:chOff x="7716328" y="2107098"/>
            <a:chExt cx="216000" cy="216000"/>
          </a:xfrm>
        </p:grpSpPr>
        <p:sp>
          <p:nvSpPr>
            <p:cNvPr id="36" name="Oval 35">
              <a:extLst>
                <a:ext uri="{FF2B5EF4-FFF2-40B4-BE49-F238E27FC236}">
                  <a16:creationId xmlns:a16="http://schemas.microsoft.com/office/drawing/2014/main" id="{AFC1008B-7F5A-ABCA-46A8-719F387F343B}"/>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37" name="Group 36">
              <a:extLst>
                <a:ext uri="{FF2B5EF4-FFF2-40B4-BE49-F238E27FC236}">
                  <a16:creationId xmlns:a16="http://schemas.microsoft.com/office/drawing/2014/main" id="{4765AD75-EEC5-6C79-54A2-12AB6AB81DF3}"/>
                </a:ext>
              </a:extLst>
            </p:cNvPr>
            <p:cNvGrpSpPr>
              <a:grpSpLocks noChangeAspect="1"/>
            </p:cNvGrpSpPr>
            <p:nvPr/>
          </p:nvGrpSpPr>
          <p:grpSpPr>
            <a:xfrm rot="18900000">
              <a:off x="7758327" y="2179098"/>
              <a:ext cx="132003" cy="72000"/>
              <a:chOff x="10144608" y="897887"/>
              <a:chExt cx="326542" cy="178110"/>
            </a:xfrm>
          </p:grpSpPr>
          <p:sp>
            <p:nvSpPr>
              <p:cNvPr id="38" name="Line 34">
                <a:extLst>
                  <a:ext uri="{FF2B5EF4-FFF2-40B4-BE49-F238E27FC236}">
                    <a16:creationId xmlns:a16="http://schemas.microsoft.com/office/drawing/2014/main" id="{4728352A-DD69-F8E1-070E-E6F19A9C306F}"/>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9" name="Rectangle 11">
                <a:extLst>
                  <a:ext uri="{FF2B5EF4-FFF2-40B4-BE49-F238E27FC236}">
                    <a16:creationId xmlns:a16="http://schemas.microsoft.com/office/drawing/2014/main" id="{4E3E09E6-C276-5639-FB5D-676229642B65}"/>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40" name="SigEvoNeg">
            <a:extLst>
              <a:ext uri="{FF2B5EF4-FFF2-40B4-BE49-F238E27FC236}">
                <a16:creationId xmlns:a16="http://schemas.microsoft.com/office/drawing/2014/main" id="{C1D039FD-E99B-9351-B8E2-1E1538C4A68D}"/>
              </a:ext>
            </a:extLst>
          </p:cNvPr>
          <p:cNvGrpSpPr/>
          <p:nvPr/>
        </p:nvGrpSpPr>
        <p:grpSpPr>
          <a:xfrm>
            <a:off x="5226876" y="4874361"/>
            <a:ext cx="108000" cy="108000"/>
            <a:chOff x="8011603" y="2107098"/>
            <a:chExt cx="216000" cy="216000"/>
          </a:xfrm>
        </p:grpSpPr>
        <p:sp>
          <p:nvSpPr>
            <p:cNvPr id="41" name="Oval 40">
              <a:extLst>
                <a:ext uri="{FF2B5EF4-FFF2-40B4-BE49-F238E27FC236}">
                  <a16:creationId xmlns:a16="http://schemas.microsoft.com/office/drawing/2014/main" id="{0527EC1C-8027-27EA-B26B-28C27691632E}"/>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42" name="Group 41">
              <a:extLst>
                <a:ext uri="{FF2B5EF4-FFF2-40B4-BE49-F238E27FC236}">
                  <a16:creationId xmlns:a16="http://schemas.microsoft.com/office/drawing/2014/main" id="{32A7B1CC-C4A7-2551-36BD-51EC6FED77DC}"/>
                </a:ext>
              </a:extLst>
            </p:cNvPr>
            <p:cNvGrpSpPr>
              <a:grpSpLocks noChangeAspect="1"/>
            </p:cNvGrpSpPr>
            <p:nvPr/>
          </p:nvGrpSpPr>
          <p:grpSpPr>
            <a:xfrm rot="2700000">
              <a:off x="8053602" y="2179098"/>
              <a:ext cx="132003" cy="72000"/>
              <a:chOff x="10144608" y="897887"/>
              <a:chExt cx="326542" cy="178110"/>
            </a:xfrm>
          </p:grpSpPr>
          <p:sp>
            <p:nvSpPr>
              <p:cNvPr id="43" name="Line 34">
                <a:extLst>
                  <a:ext uri="{FF2B5EF4-FFF2-40B4-BE49-F238E27FC236}">
                    <a16:creationId xmlns:a16="http://schemas.microsoft.com/office/drawing/2014/main" id="{12EB5091-22EC-BEEE-B40F-FC8A27259EEC}"/>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4" name="Rectangle 11">
                <a:extLst>
                  <a:ext uri="{FF2B5EF4-FFF2-40B4-BE49-F238E27FC236}">
                    <a16:creationId xmlns:a16="http://schemas.microsoft.com/office/drawing/2014/main" id="{AEA25F55-7698-08AB-5736-0F047F78DC22}"/>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45" name="SigEvoNeg">
            <a:extLst>
              <a:ext uri="{FF2B5EF4-FFF2-40B4-BE49-F238E27FC236}">
                <a16:creationId xmlns:a16="http://schemas.microsoft.com/office/drawing/2014/main" id="{5F35649A-014A-244C-C7C2-FC803EACDB2D}"/>
              </a:ext>
            </a:extLst>
          </p:cNvPr>
          <p:cNvGrpSpPr/>
          <p:nvPr/>
        </p:nvGrpSpPr>
        <p:grpSpPr>
          <a:xfrm>
            <a:off x="5419339" y="4792305"/>
            <a:ext cx="108000" cy="108000"/>
            <a:chOff x="8011603" y="2107098"/>
            <a:chExt cx="216000" cy="216000"/>
          </a:xfrm>
        </p:grpSpPr>
        <p:sp>
          <p:nvSpPr>
            <p:cNvPr id="46" name="Oval 45">
              <a:extLst>
                <a:ext uri="{FF2B5EF4-FFF2-40B4-BE49-F238E27FC236}">
                  <a16:creationId xmlns:a16="http://schemas.microsoft.com/office/drawing/2014/main" id="{A632424E-9FDA-BC3D-8366-DA35E041BD6C}"/>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47" name="Group 46">
              <a:extLst>
                <a:ext uri="{FF2B5EF4-FFF2-40B4-BE49-F238E27FC236}">
                  <a16:creationId xmlns:a16="http://schemas.microsoft.com/office/drawing/2014/main" id="{49300916-228D-05B5-7958-4E4F7F39C3EA}"/>
                </a:ext>
              </a:extLst>
            </p:cNvPr>
            <p:cNvGrpSpPr>
              <a:grpSpLocks noChangeAspect="1"/>
            </p:cNvGrpSpPr>
            <p:nvPr/>
          </p:nvGrpSpPr>
          <p:grpSpPr>
            <a:xfrm rot="2700000">
              <a:off x="8053602" y="2179098"/>
              <a:ext cx="132003" cy="72000"/>
              <a:chOff x="10144608" y="897887"/>
              <a:chExt cx="326542" cy="178110"/>
            </a:xfrm>
          </p:grpSpPr>
          <p:sp>
            <p:nvSpPr>
              <p:cNvPr id="48" name="Line 34">
                <a:extLst>
                  <a:ext uri="{FF2B5EF4-FFF2-40B4-BE49-F238E27FC236}">
                    <a16:creationId xmlns:a16="http://schemas.microsoft.com/office/drawing/2014/main" id="{0EC59C04-BD31-2C5D-4FB4-3506E0430B3A}"/>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9" name="Rectangle 11">
                <a:extLst>
                  <a:ext uri="{FF2B5EF4-FFF2-40B4-BE49-F238E27FC236}">
                    <a16:creationId xmlns:a16="http://schemas.microsoft.com/office/drawing/2014/main" id="{A4E30595-D2EF-7C25-0274-080D0325C3FE}"/>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50" name="SigEvoNeg">
            <a:extLst>
              <a:ext uri="{FF2B5EF4-FFF2-40B4-BE49-F238E27FC236}">
                <a16:creationId xmlns:a16="http://schemas.microsoft.com/office/drawing/2014/main" id="{EB79D396-FA1B-3E66-24D2-E3BA11FB9109}"/>
              </a:ext>
            </a:extLst>
          </p:cNvPr>
          <p:cNvGrpSpPr/>
          <p:nvPr/>
        </p:nvGrpSpPr>
        <p:grpSpPr>
          <a:xfrm>
            <a:off x="6606594" y="3127481"/>
            <a:ext cx="108000" cy="108000"/>
            <a:chOff x="8011603" y="2107098"/>
            <a:chExt cx="216000" cy="216000"/>
          </a:xfrm>
        </p:grpSpPr>
        <p:sp>
          <p:nvSpPr>
            <p:cNvPr id="51" name="Oval 50">
              <a:extLst>
                <a:ext uri="{FF2B5EF4-FFF2-40B4-BE49-F238E27FC236}">
                  <a16:creationId xmlns:a16="http://schemas.microsoft.com/office/drawing/2014/main" id="{629A11F2-5699-C07B-2E62-8CC28494CD53}"/>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52" name="Group 51">
              <a:extLst>
                <a:ext uri="{FF2B5EF4-FFF2-40B4-BE49-F238E27FC236}">
                  <a16:creationId xmlns:a16="http://schemas.microsoft.com/office/drawing/2014/main" id="{BCABA991-5622-9643-F636-F07BE0B8EA73}"/>
                </a:ext>
              </a:extLst>
            </p:cNvPr>
            <p:cNvGrpSpPr>
              <a:grpSpLocks noChangeAspect="1"/>
            </p:cNvGrpSpPr>
            <p:nvPr/>
          </p:nvGrpSpPr>
          <p:grpSpPr>
            <a:xfrm rot="2700000">
              <a:off x="8053602" y="2179098"/>
              <a:ext cx="132003" cy="72000"/>
              <a:chOff x="10144608" y="897887"/>
              <a:chExt cx="326542" cy="178110"/>
            </a:xfrm>
          </p:grpSpPr>
          <p:sp>
            <p:nvSpPr>
              <p:cNvPr id="53" name="Line 34">
                <a:extLst>
                  <a:ext uri="{FF2B5EF4-FFF2-40B4-BE49-F238E27FC236}">
                    <a16:creationId xmlns:a16="http://schemas.microsoft.com/office/drawing/2014/main" id="{638D000B-4525-0A68-6889-959253B5ED9E}"/>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4" name="Rectangle 11">
                <a:extLst>
                  <a:ext uri="{FF2B5EF4-FFF2-40B4-BE49-F238E27FC236}">
                    <a16:creationId xmlns:a16="http://schemas.microsoft.com/office/drawing/2014/main" id="{915C42D3-DED7-C6D5-5E7C-D99D67FB2E8D}"/>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55" name="SigEvoPos">
            <a:extLst>
              <a:ext uri="{FF2B5EF4-FFF2-40B4-BE49-F238E27FC236}">
                <a16:creationId xmlns:a16="http://schemas.microsoft.com/office/drawing/2014/main" id="{AACA17C0-6469-2A18-42DB-5791469AE082}"/>
              </a:ext>
            </a:extLst>
          </p:cNvPr>
          <p:cNvGrpSpPr/>
          <p:nvPr/>
        </p:nvGrpSpPr>
        <p:grpSpPr>
          <a:xfrm>
            <a:off x="6205201" y="4635535"/>
            <a:ext cx="108000" cy="108000"/>
            <a:chOff x="7716328" y="2107098"/>
            <a:chExt cx="216000" cy="216000"/>
          </a:xfrm>
        </p:grpSpPr>
        <p:sp>
          <p:nvSpPr>
            <p:cNvPr id="56" name="Oval 55">
              <a:extLst>
                <a:ext uri="{FF2B5EF4-FFF2-40B4-BE49-F238E27FC236}">
                  <a16:creationId xmlns:a16="http://schemas.microsoft.com/office/drawing/2014/main" id="{2EC11FEF-C351-BC2D-BFD2-FEE978AB6573}"/>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57" name="Group 56">
              <a:extLst>
                <a:ext uri="{FF2B5EF4-FFF2-40B4-BE49-F238E27FC236}">
                  <a16:creationId xmlns:a16="http://schemas.microsoft.com/office/drawing/2014/main" id="{64F7A778-57BA-BF52-6B0D-68C28993BB6B}"/>
                </a:ext>
              </a:extLst>
            </p:cNvPr>
            <p:cNvGrpSpPr>
              <a:grpSpLocks noChangeAspect="1"/>
            </p:cNvGrpSpPr>
            <p:nvPr/>
          </p:nvGrpSpPr>
          <p:grpSpPr>
            <a:xfrm rot="18900000">
              <a:off x="7758327" y="2179098"/>
              <a:ext cx="132003" cy="72000"/>
              <a:chOff x="10144608" y="897887"/>
              <a:chExt cx="326542" cy="178110"/>
            </a:xfrm>
          </p:grpSpPr>
          <p:sp>
            <p:nvSpPr>
              <p:cNvPr id="58" name="Line 34">
                <a:extLst>
                  <a:ext uri="{FF2B5EF4-FFF2-40B4-BE49-F238E27FC236}">
                    <a16:creationId xmlns:a16="http://schemas.microsoft.com/office/drawing/2014/main" id="{41C8002B-5A3B-D1E2-A1AA-C4886E7AA386}"/>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9" name="Rectangle 11">
                <a:extLst>
                  <a:ext uri="{FF2B5EF4-FFF2-40B4-BE49-F238E27FC236}">
                    <a16:creationId xmlns:a16="http://schemas.microsoft.com/office/drawing/2014/main" id="{C14A22D4-2B09-32A9-8CF8-CC3495A5C5CC}"/>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60" name="SigEvoNeg">
            <a:extLst>
              <a:ext uri="{FF2B5EF4-FFF2-40B4-BE49-F238E27FC236}">
                <a16:creationId xmlns:a16="http://schemas.microsoft.com/office/drawing/2014/main" id="{71009208-2DEA-6AD1-41AA-0718CCD96E65}"/>
              </a:ext>
            </a:extLst>
          </p:cNvPr>
          <p:cNvGrpSpPr/>
          <p:nvPr/>
        </p:nvGrpSpPr>
        <p:grpSpPr>
          <a:xfrm>
            <a:off x="9108710" y="4859864"/>
            <a:ext cx="108000" cy="108000"/>
            <a:chOff x="8011603" y="2107098"/>
            <a:chExt cx="216000" cy="216000"/>
          </a:xfrm>
        </p:grpSpPr>
        <p:sp>
          <p:nvSpPr>
            <p:cNvPr id="61" name="Oval 60">
              <a:extLst>
                <a:ext uri="{FF2B5EF4-FFF2-40B4-BE49-F238E27FC236}">
                  <a16:creationId xmlns:a16="http://schemas.microsoft.com/office/drawing/2014/main" id="{0CEB93C1-BB3D-F7B8-890C-7A81C47A5590}"/>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62" name="Group 61">
              <a:extLst>
                <a:ext uri="{FF2B5EF4-FFF2-40B4-BE49-F238E27FC236}">
                  <a16:creationId xmlns:a16="http://schemas.microsoft.com/office/drawing/2014/main" id="{E23ECABA-5339-98D0-CB39-6235CE76F2D2}"/>
                </a:ext>
              </a:extLst>
            </p:cNvPr>
            <p:cNvGrpSpPr>
              <a:grpSpLocks noChangeAspect="1"/>
            </p:cNvGrpSpPr>
            <p:nvPr/>
          </p:nvGrpSpPr>
          <p:grpSpPr>
            <a:xfrm rot="2700000">
              <a:off x="8053602" y="2179098"/>
              <a:ext cx="132003" cy="72000"/>
              <a:chOff x="10144608" y="897887"/>
              <a:chExt cx="326542" cy="178110"/>
            </a:xfrm>
          </p:grpSpPr>
          <p:sp>
            <p:nvSpPr>
              <p:cNvPr id="63" name="Line 34">
                <a:extLst>
                  <a:ext uri="{FF2B5EF4-FFF2-40B4-BE49-F238E27FC236}">
                    <a16:creationId xmlns:a16="http://schemas.microsoft.com/office/drawing/2014/main" id="{65954137-8F02-46DC-4D4E-D8F235591A6C}"/>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4" name="Rectangle 11">
                <a:extLst>
                  <a:ext uri="{FF2B5EF4-FFF2-40B4-BE49-F238E27FC236}">
                    <a16:creationId xmlns:a16="http://schemas.microsoft.com/office/drawing/2014/main" id="{1C703FBF-4FC9-3A6E-4E59-280EA8A85EE5}"/>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4" name="SigEvoNeg">
            <a:extLst>
              <a:ext uri="{FF2B5EF4-FFF2-40B4-BE49-F238E27FC236}">
                <a16:creationId xmlns:a16="http://schemas.microsoft.com/office/drawing/2014/main" id="{F735B2CC-9884-51F2-7BB3-D109AF75D6E6}"/>
              </a:ext>
            </a:extLst>
          </p:cNvPr>
          <p:cNvGrpSpPr/>
          <p:nvPr/>
        </p:nvGrpSpPr>
        <p:grpSpPr>
          <a:xfrm>
            <a:off x="4445597" y="4726087"/>
            <a:ext cx="108000" cy="108000"/>
            <a:chOff x="8011603" y="2107098"/>
            <a:chExt cx="216000" cy="216000"/>
          </a:xfrm>
        </p:grpSpPr>
        <p:sp>
          <p:nvSpPr>
            <p:cNvPr id="6" name="Oval 5">
              <a:extLst>
                <a:ext uri="{FF2B5EF4-FFF2-40B4-BE49-F238E27FC236}">
                  <a16:creationId xmlns:a16="http://schemas.microsoft.com/office/drawing/2014/main" id="{E1D46ACF-9693-67CB-6E52-8351999B6EE5}"/>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7" name="Group 6">
              <a:extLst>
                <a:ext uri="{FF2B5EF4-FFF2-40B4-BE49-F238E27FC236}">
                  <a16:creationId xmlns:a16="http://schemas.microsoft.com/office/drawing/2014/main" id="{561EDB89-9FE2-D884-1DF7-9EB36C761680}"/>
                </a:ext>
              </a:extLst>
            </p:cNvPr>
            <p:cNvGrpSpPr>
              <a:grpSpLocks noChangeAspect="1"/>
            </p:cNvGrpSpPr>
            <p:nvPr/>
          </p:nvGrpSpPr>
          <p:grpSpPr>
            <a:xfrm rot="2700000">
              <a:off x="8053602" y="2179098"/>
              <a:ext cx="132003" cy="72000"/>
              <a:chOff x="10144608" y="897887"/>
              <a:chExt cx="326542" cy="178110"/>
            </a:xfrm>
          </p:grpSpPr>
          <p:sp>
            <p:nvSpPr>
              <p:cNvPr id="21" name="Line 34">
                <a:extLst>
                  <a:ext uri="{FF2B5EF4-FFF2-40B4-BE49-F238E27FC236}">
                    <a16:creationId xmlns:a16="http://schemas.microsoft.com/office/drawing/2014/main" id="{6E7F1D60-5565-1E53-C820-6844D98A1946}"/>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0" name="Rectangle 11">
                <a:extLst>
                  <a:ext uri="{FF2B5EF4-FFF2-40B4-BE49-F238E27FC236}">
                    <a16:creationId xmlns:a16="http://schemas.microsoft.com/office/drawing/2014/main" id="{4CF6C574-C64E-5099-2B6B-7247A3C87EAC}"/>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71" name="SigEvoNeg">
            <a:extLst>
              <a:ext uri="{FF2B5EF4-FFF2-40B4-BE49-F238E27FC236}">
                <a16:creationId xmlns:a16="http://schemas.microsoft.com/office/drawing/2014/main" id="{C2CA087A-9773-40DE-2B83-A0120E2EE192}"/>
              </a:ext>
            </a:extLst>
          </p:cNvPr>
          <p:cNvGrpSpPr/>
          <p:nvPr/>
        </p:nvGrpSpPr>
        <p:grpSpPr>
          <a:xfrm>
            <a:off x="7378709" y="4726757"/>
            <a:ext cx="108000" cy="108000"/>
            <a:chOff x="8011603" y="2107098"/>
            <a:chExt cx="216000" cy="216000"/>
          </a:xfrm>
        </p:grpSpPr>
        <p:sp>
          <p:nvSpPr>
            <p:cNvPr id="72" name="Oval 71">
              <a:extLst>
                <a:ext uri="{FF2B5EF4-FFF2-40B4-BE49-F238E27FC236}">
                  <a16:creationId xmlns:a16="http://schemas.microsoft.com/office/drawing/2014/main" id="{395536C0-70A6-6094-D218-226DAE3604B3}"/>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73" name="Group 72">
              <a:extLst>
                <a:ext uri="{FF2B5EF4-FFF2-40B4-BE49-F238E27FC236}">
                  <a16:creationId xmlns:a16="http://schemas.microsoft.com/office/drawing/2014/main" id="{2A84A765-311A-3DFC-6234-3C50F2DF736B}"/>
                </a:ext>
              </a:extLst>
            </p:cNvPr>
            <p:cNvGrpSpPr>
              <a:grpSpLocks noChangeAspect="1"/>
            </p:cNvGrpSpPr>
            <p:nvPr/>
          </p:nvGrpSpPr>
          <p:grpSpPr>
            <a:xfrm rot="2700000">
              <a:off x="8053602" y="2179098"/>
              <a:ext cx="132003" cy="72000"/>
              <a:chOff x="10144608" y="897887"/>
              <a:chExt cx="326542" cy="178110"/>
            </a:xfrm>
          </p:grpSpPr>
          <p:sp>
            <p:nvSpPr>
              <p:cNvPr id="74" name="Line 34">
                <a:extLst>
                  <a:ext uri="{FF2B5EF4-FFF2-40B4-BE49-F238E27FC236}">
                    <a16:creationId xmlns:a16="http://schemas.microsoft.com/office/drawing/2014/main" id="{ABE156A6-C3FD-F2D7-EAC7-689EB88E9308}"/>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5" name="Rectangle 11">
                <a:extLst>
                  <a:ext uri="{FF2B5EF4-FFF2-40B4-BE49-F238E27FC236}">
                    <a16:creationId xmlns:a16="http://schemas.microsoft.com/office/drawing/2014/main" id="{BCCA314B-313F-B1D0-2002-86C63548B0EF}"/>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spTree>
    <p:extLst>
      <p:ext uri="{BB962C8B-B14F-4D97-AF65-F5344CB8AC3E}">
        <p14:creationId xmlns:p14="http://schemas.microsoft.com/office/powerpoint/2010/main" val="1106672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theme1.xml><?xml version="1.0" encoding="utf-8"?>
<a:theme xmlns:a="http://schemas.openxmlformats.org/drawingml/2006/main" name="IPSOS - Classical Template - 16x9">
  <a:themeElements>
    <a:clrScheme name="Ipsos 2019">
      <a:dk1>
        <a:srgbClr val="282828"/>
      </a:dk1>
      <a:lt1>
        <a:sysClr val="window" lastClr="FFFFFF"/>
      </a:lt1>
      <a:dk2>
        <a:srgbClr val="009D9C"/>
      </a:dk2>
      <a:lt2>
        <a:srgbClr val="2F469C"/>
      </a:lt2>
      <a:accent1>
        <a:srgbClr val="002554"/>
      </a:accent1>
      <a:accent2>
        <a:srgbClr val="F1BE48"/>
      </a:accent2>
      <a:accent3>
        <a:srgbClr val="E87722"/>
      </a:accent3>
      <a:accent4>
        <a:srgbClr val="84329B"/>
      </a:accent4>
      <a:accent5>
        <a:srgbClr val="CC4A4A"/>
      </a:accent5>
      <a:accent6>
        <a:srgbClr val="8E9696"/>
      </a:accent6>
      <a:hlink>
        <a:srgbClr val="2F469C"/>
      </a:hlink>
      <a:folHlink>
        <a:srgbClr val="009D9C"/>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36000" tIns="36000" rIns="36000" bIns="36000"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Ipsos  Be sure - Norsk.pptx  -  Skrivebeskyttet" id="{FC19D33D-96EF-494F-B6BC-C4507186E43E}" vid="{C6A1C8ED-B13B-4C46-8BCE-52FC36DBE6A5}"/>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B75AD9DC4239A47AB6FDC49FCFB618A" ma:contentTypeVersion="6" ma:contentTypeDescription="Create a new document." ma:contentTypeScope="" ma:versionID="5a25462a6051fd44c8b6fecdb0076c96">
  <xsd:schema xmlns:xsd="http://www.w3.org/2001/XMLSchema" xmlns:xs="http://www.w3.org/2001/XMLSchema" xmlns:p="http://schemas.microsoft.com/office/2006/metadata/properties" xmlns:ns2="85c76272-7e4d-4f8f-89d1-3b227e52ef43" xmlns:ns3="a1549414-1dcc-402f-ba9b-44c1b3f5d57c" targetNamespace="http://schemas.microsoft.com/office/2006/metadata/properties" ma:root="true" ma:fieldsID="6936dcceafec7982565e6ff282441213" ns2:_="" ns3:_="">
    <xsd:import namespace="85c76272-7e4d-4f8f-89d1-3b227e52ef43"/>
    <xsd:import namespace="a1549414-1dcc-402f-ba9b-44c1b3f5d57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76272-7e4d-4f8f-89d1-3b227e52e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549414-1dcc-402f-ba9b-44c1b3f5d57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B42295-196D-47F9-B16B-36ECDB7CB2C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28F434E-81C1-4563-8BB2-6E4C7A3340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c76272-7e4d-4f8f-89d1-3b227e52ef43"/>
    <ds:schemaRef ds:uri="a1549414-1dcc-402f-ba9b-44c1b3f5d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EAEDD75-BD82-4EC9-85F3-3A986E14B0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_Template_2019</Template>
  <TotalTime>28062</TotalTime>
  <Words>1795</Words>
  <Application>Microsoft Office PowerPoint</Application>
  <PresentationFormat>Widescreen</PresentationFormat>
  <Paragraphs>134</Paragraphs>
  <Slides>1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Arial Black</vt:lpstr>
      <vt:lpstr>Calibri</vt:lpstr>
      <vt:lpstr>Wingdings</vt:lpstr>
      <vt:lpstr>IPSOS - Classical Template - 16x9</vt:lpstr>
      <vt:lpstr>Diapositive think-cell</vt:lpstr>
      <vt:lpstr>Barneloven</vt:lpstr>
      <vt:lpstr>PROSJEKTINFORMASJON</vt:lpstr>
      <vt:lpstr>Resulta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psos – Be sure</dc:title>
  <dc:creator>Bjørnar Brenne</dc:creator>
  <cp:lastModifiedBy>Stormoen, Even</cp:lastModifiedBy>
  <cp:revision>32</cp:revision>
  <dcterms:created xsi:type="dcterms:W3CDTF">2023-03-29T05:38:44Z</dcterms:created>
  <dcterms:modified xsi:type="dcterms:W3CDTF">2023-07-18T06:3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5AD9DC4239A47AB6FDC49FCFB618A</vt:lpwstr>
  </property>
  <property fmtid="{D5CDD505-2E9C-101B-9397-08002B2CF9AE}" pid="3" name="conclusion">
    <vt:lpwstr>title</vt:lpwstr>
  </property>
  <property fmtid="{D5CDD505-2E9C-101B-9397-08002B2CF9AE}" pid="4" name="dLanguage">
    <vt:lpwstr>en-US</vt:lpwstr>
  </property>
</Properties>
</file>